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99" r:id="rId5"/>
    <p:sldMasterId id="2147483739" r:id="rId6"/>
    <p:sldMasterId id="2147483803" r:id="rId7"/>
    <p:sldMasterId id="2147483829" r:id="rId8"/>
  </p:sldMasterIdLst>
  <p:notesMasterIdLst>
    <p:notesMasterId r:id="rId30"/>
  </p:notesMasterIdLst>
  <p:sldIdLst>
    <p:sldId id="509" r:id="rId9"/>
    <p:sldId id="511" r:id="rId10"/>
    <p:sldId id="501" r:id="rId11"/>
    <p:sldId id="517" r:id="rId12"/>
    <p:sldId id="518" r:id="rId13"/>
    <p:sldId id="507" r:id="rId14"/>
    <p:sldId id="506" r:id="rId15"/>
    <p:sldId id="529" r:id="rId16"/>
    <p:sldId id="527" r:id="rId17"/>
    <p:sldId id="520" r:id="rId18"/>
    <p:sldId id="530" r:id="rId19"/>
    <p:sldId id="525" r:id="rId20"/>
    <p:sldId id="523" r:id="rId21"/>
    <p:sldId id="524" r:id="rId22"/>
    <p:sldId id="528" r:id="rId23"/>
    <p:sldId id="531" r:id="rId24"/>
    <p:sldId id="532" r:id="rId25"/>
    <p:sldId id="533" r:id="rId26"/>
    <p:sldId id="535" r:id="rId27"/>
    <p:sldId id="499" r:id="rId28"/>
    <p:sldId id="536" r:id="rId29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Mäkelä Kristiina" initials="MK" lastIdx="33" clrIdx="0">
    <p:extLst>
      <p:ext uri="{19B8F6BF-5375-455C-9EA6-DF929625EA0E}">
        <p15:presenceInfo xmlns:p15="http://schemas.microsoft.com/office/powerpoint/2012/main" userId="S::kristiina.makela@aalto.fi::f3530572-b412-48dd-9070-0c6aa63485f3" providerId="AD"/>
      </p:ext>
    </p:extLst>
  </p:cmAuthor>
  <p:cmAuthor id="3" name="Laura Eiro" initials="LE" lastIdx="0" clrIdx="1">
    <p:extLst>
      <p:ext uri="{19B8F6BF-5375-455C-9EA6-DF929625EA0E}">
        <p15:presenceInfo xmlns:p15="http://schemas.microsoft.com/office/powerpoint/2012/main" userId="S-1-5-21-3521595049-301303566-333748410-1297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0" autoAdjust="0"/>
    <p:restoredTop sz="65493" autoAdjust="0"/>
  </p:normalViewPr>
  <p:slideViewPr>
    <p:cSldViewPr snapToGrid="0">
      <p:cViewPr varScale="1">
        <p:scale>
          <a:sx n="71" d="100"/>
          <a:sy n="71" d="100"/>
        </p:scale>
        <p:origin x="60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B2F00D-A8D6-4A70-ACF3-F9033943ED44}" type="datetimeFigureOut">
              <a:rPr lang="fi-FI" smtClean="0"/>
              <a:t>13.5.2021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B8D2F0-F551-44C2-A65F-18E882F6DDB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97937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usinessfinland.fi/4931cb/globalassets/julkaisut/innovaatioseminaari_matti_pohjola.pdf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data.europa.eu/sites/default/files/edp_landscaping_insight_report_n6_2020.pdf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911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 smtClean="0"/>
              <a:t>-out-</a:t>
            </a:r>
            <a:r>
              <a:rPr lang="fi-FI" dirty="0" err="1" smtClean="0"/>
              <a:t>put</a:t>
            </a:r>
            <a:r>
              <a:rPr lang="fi-FI" dirty="0" smtClean="0"/>
              <a:t> mittaristoon pitäisi eriyttää, esimerkiksi laadullinen BKT:n kasvua kuvaava mittari (osoittamaan esim. korkean arvonlisän liiketoiminnasta syntyvää BKT:tä).</a:t>
            </a:r>
          </a:p>
          <a:p>
            <a:r>
              <a:rPr lang="fi-FI" dirty="0" smtClean="0"/>
              <a:t>- yritysten ICT-investoinnit ja niiden kehitys? laahaavat kilpailijamaiden jäljessä.</a:t>
            </a:r>
            <a:br>
              <a:rPr lang="fi-FI" dirty="0" smtClean="0"/>
            </a:br>
            <a:r>
              <a:rPr lang="fi-FI" dirty="0" smtClean="0"/>
              <a:t>- Vientiin ja kasvuhakuisuuteen liittyen lisättäväksi voisi harkita vientiä tekevien pk-yritysten osuuden sekä voimakkaasti kasvuhakuisten pk-yritysten osuuden kasvattaminen (mittari: Pk-yritysbarometri).</a:t>
            </a:r>
            <a:br>
              <a:rPr lang="fi-FI" dirty="0" smtClean="0"/>
            </a:br>
            <a:r>
              <a:rPr lang="fi-FI" dirty="0" smtClean="0"/>
              <a:t>- olisiko syytä asettaa tavoite korkean digikypsyyden omaavien yritysten osuuden kasvattamiselle (mittari: EU:n DESI-indeksi).</a:t>
            </a:r>
            <a:br>
              <a:rPr lang="fi-FI" dirty="0" smtClean="0"/>
            </a:br>
            <a:r>
              <a:rPr lang="fi-FI" dirty="0" smtClean="0"/>
              <a:t>- Edellisen lisäksi tai sijaan voisi harkita myös Suomen yrityskentän suhteellisen sijoituksen kehitystä Etlan toteuttamassa Digibarometrissä ja/tai EU:n DESI-indeksissä.</a:t>
            </a:r>
          </a:p>
          <a:p>
            <a:r>
              <a:rPr lang="fi-FI" dirty="0" smtClean="0"/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fi-FI" sz="1200" b="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+mn-lt"/>
              </a:rPr>
              <a:t>kiinteät investoinnit -&gt;</a:t>
            </a:r>
            <a:r>
              <a:rPr lang="fi-FI" sz="1200" b="0" i="0" u="none" kern="1200" baseline="0" dirty="0" smtClean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 kone-, laite- ja henkisen pääoman investoinnit?</a:t>
            </a:r>
            <a:endParaRPr lang="fi-FI" sz="1200" b="0" i="0" u="none" kern="1200" dirty="0" smtClean="0">
              <a:solidFill>
                <a:srgbClr val="FF0000"/>
              </a:solidFill>
              <a:latin typeface="+mn-lt"/>
              <a:ea typeface="+mn-ea"/>
              <a:cs typeface="+mn-cs"/>
              <a:sym typeface="+mn-lt"/>
            </a:endParaRP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yhtenä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amittarina tietointensiivisten markkinapalvelujen osuu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KT:sta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ti Pohjola Aallosta on nostanut esiin että Suomi tulee tällä mittarilla kilpailijamaita jäljessä. Alla poiminta Matin esityksestä. Häneltä ja muilta asiaan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hkiytyineiltä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loustieteilijöiltä tai valtiovarainministeriön asiantuntijoilta voisi tulla hyviä ehdotuksia siihen, miten mitata bruttokansantuotteen laadullista muutosta ja osaamisintensiivisyyttä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dirty="0" smtClean="0">
                <a:hlinkClick r:id="rId3"/>
              </a:rPr>
              <a:t>Microsoft PowerPoint - DOKU-#2374043-v1-Innovaatioseminaari_Matti_Pohjola_02032020.PPTX (businessfinland.fi)</a:t>
            </a:r>
            <a:endParaRPr lang="fi-FI" dirty="0" smtClean="0"/>
          </a:p>
          <a:p>
            <a:endParaRPr lang="fi-FI" dirty="0" smtClean="0"/>
          </a:p>
          <a:p>
            <a:pPr rtl="0" eaLnBrk="1" fontAlgn="auto" latinLnBrk="0" hangingPunct="1"/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fi-FI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emmin esillä: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ettavien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ritysten määrä kasvaa TAI Teknologiasektorin työpaikkojen määrä kasvaa</a:t>
            </a:r>
          </a:p>
          <a:p>
            <a:pPr rtl="0" eaLnBrk="1" fontAlgn="auto" latinLnBrk="0" hangingPunct="1"/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ustettavien yritysten määrä 1000 työikäistä kohti kasvaa muiden Pohjoismaiden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hi</a:t>
            </a:r>
            <a:r>
              <a:rPr lang="fi-FI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,3 -&gt;10,0 (haasteena palveluyritykset)</a:t>
            </a:r>
          </a:p>
          <a:p>
            <a:pPr rtl="0" eaLnBrk="1" fontAlgn="auto" latinLnBrk="0" hangingPunct="1"/>
            <a:endParaRPr lang="fi-FI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uusi: Julkishallinnon markkinoilta hankkimien ratkaisujen määrä (euroissa) ja sen suhde julkishallinnon in-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use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htiöiltä ostamiin euroihin + itse kehittämisen kustannuksiin -&gt; toimenpiteisiin</a:t>
            </a:r>
          </a:p>
          <a:p>
            <a:pPr rtl="0" eaLnBrk="1" fontAlgn="auto" latinLnBrk="0" hangingPunct="1"/>
            <a:endParaRPr lang="fi-FI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18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avoitetasoksi työ- ja koulutusperusteiselle maahanmuutolle hallituksen puoliväliriihessä asettamat tavoitteet: Hallitus tavoittelee työperäisen maahanmuuton vähintään kaksinkertaistamista nykytasosta vuoteen 2030 mennessä siten, että kestävyystiekartan edellyttämä vähintään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0 000 työperäisen maahanmuuttajan kokonaislisäys toteutuu. Uusien ulkomaalaisten tutkinto-opiskelijoiden määrä pyritään kolminkertaistamaan vuoteen 2030 mennessä nostaen samalla opiskelijoiden Suomeen työllistyminen ja jääminen 75 prosenttiin.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 x: Suomen houkuttelevuuden nostaminen nuorten korkeasti koulutettujen kansainvälisten osaajien joukossa. Mittari: Nuorten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keastikoulutetujen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ettomaahanmuutto (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nchmark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uut Pohjoismaat ja anglosaksiset maat)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Hyvin keskeinen avaintulos olisi Suomalaisten korkeakoulujen menestys / suomalaisten yliopistojen taso kansainvälisessä mittauksessa. kansainvälisissä vertailuissa</a:t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Uusi: suomalaisen koulutuksen/osaamisen tason mittaaminen. Se olisi minusta ehdottomasti syytä lisätä. En osaa suoraan sanoa mittaria, mutta voisi vaikka kytkeä jotenkin korkeakoulusta valmistuvien henkilöiden määrään tai jotain.</a:t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7037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2: Palveluiden määrän kasvu tai käyttömäärien kasvu ei itsessään ole riittävä tai järkevä mittari. Se ei ota huomioon automaatioon tai taustaprosesseihin siirrettyä palvelua, eli käytännössä asiointitarpeen poistamista.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EU tekemä Open Data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urity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avertailu (https://data.europa.eu/sites/default/files/edp_landscaping_insight_report_n6_2020.pdf) olisi hyvä ottaa tähän mittariksi. Vuonna 2020 Suomi oli sijalla 14. -&gt; toimenpiteese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ässäkin voisi hyödyntää ensin kansainvälistä tutkimusta siitä, mitä Suomi ei ole tehnyt verrattaessa muihin EU maihin. Meillä oli vielä 5 vuotta sitten kärkiasema, mutta ei ole enää. Muut maat ovat menneet ohi. </a:t>
            </a:r>
            <a:r>
              <a:rPr lang="fi-FI" sz="1200" u="sng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data.europa.eu/sites/default/files/edp_landscaping_insight_report_n6_2020.pdf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&gt; toimenpiteeseen</a:t>
            </a:r>
          </a:p>
          <a:p>
            <a:endParaRPr lang="fi-FI" dirty="0" smtClean="0"/>
          </a:p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Mittari hyvinvointiin esitetty useassa lausunnossa: </a:t>
            </a:r>
          </a:p>
          <a:p>
            <a:pPr marL="0" indent="0">
              <a:buFontTx/>
              <a:buNone/>
            </a:pP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ww.oecd.org/statistics/measuring-well-being-and-progress.htm 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ttps://worldhappiness.report/faq/ </a:t>
            </a:r>
          </a:p>
          <a:p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ue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llar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yöntekijöiden mahdollisuudet uuteen työhön, OECD:n maaraportti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5: pitäisi olla EUROMÄÄRÄINEN tavoite, ei niin että kun BKT nousee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im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nistuneiden ICT-yritysten kansainvälisen menestyksen ansiosta, niin saadaan "lupa" taas paisuttaa julkishallintoa - koska % osuu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KT:sta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ttarina. 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Tulisiko esim. tehokkuuden osalta seurata myös siihen vaikuttavia tekijöitä (esim. KR5: vaikka ”oikea tehokkuus” kasvaisi tai pysyisi ennallaan, jos BKT pienenee, pienenee myös valittu julkisen tehokkuuden mittari).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tareiden osalta voisi olla hyvä pohtia (myös) mitkä ovat sellaisia asioita, joihin voidaan (ja mikä taho) vaikuttaa. Miten tavoitteet / mittarit tasapainotetaan? Jatkossa myös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stuutukset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a vaikutusmahdollisuudet.</a:t>
            </a:r>
          </a:p>
          <a:p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KR6 mittari voisi ainakin osin liittyä julkisen ja yksityisen sektorin yhteisrahoituksen alaisiin (kasvu)hankkeisiin</a:t>
            </a:r>
          </a:p>
          <a:p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318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fi-FI" dirty="0" smtClean="0"/>
              <a:t>-Ehdotettu lisättäväksi mittari</a:t>
            </a:r>
            <a:r>
              <a:rPr lang="fi-FI" baseline="0" dirty="0" smtClean="0"/>
              <a:t> 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rautumisen ja huoltovarmuuden osalta,</a:t>
            </a:r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i mittariehdotusta</a:t>
            </a:r>
          </a:p>
          <a:p>
            <a:pPr marL="0" indent="0">
              <a:buFontTx/>
              <a:buNone/>
            </a:pP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i-FI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ECD:ll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reen Growth </a:t>
            </a:r>
            <a:r>
              <a:rPr lang="en-U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ttaria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286448-0962-443A-A7A6-40140D0BD55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194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B8D2F0-F551-44C2-A65F-18E882F6DDBA}" type="slidenum">
              <a:rPr lang="fi-FI" smtClean="0"/>
              <a:t>2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0140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6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215015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0713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775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="" xmlns:adec="http://schemas.microsoft.com/office/drawing/2017/decorative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72816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003992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31553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51633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1594682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30823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5921297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84037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5800061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0028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027190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8933277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282943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3773887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7227757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8311038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843764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348395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865624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52055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933134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7604248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33926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=""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23059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7714465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4613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730146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060941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723157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862206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337664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442332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aa-ET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16695019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6827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715873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05831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812018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297841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17682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426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846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964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792852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0468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8362313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284538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5771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414714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70901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621019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14607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9377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0334146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105465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53520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205605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35548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931224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005570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980371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4430402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290370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047418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79067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92627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361787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11746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483">
          <p15:clr>
            <a:srgbClr val="FBAE40"/>
          </p15:clr>
        </p15:guide>
        <p15:guide id="4" pos="7151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3793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9927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996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285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2353843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142139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23515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483">
          <p15:clr>
            <a:srgbClr val="FBAE40"/>
          </p15:clr>
        </p15:guide>
        <p15:guide id="4" pos="7151">
          <p15:clr>
            <a:srgbClr val="FBAE40"/>
          </p15:clr>
        </p15:guide>
        <p15:guide id="5" orient="horz" pos="164">
          <p15:clr>
            <a:srgbClr val="FBAE40"/>
          </p15:clr>
        </p15:guide>
        <p15:guide id="6" orient="horz" pos="379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11324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65298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874296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2838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322699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57585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90774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203818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38389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889727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923949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089677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549609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22272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5891164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75481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659674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2139769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321227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409080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071938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pe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Ryhmä 17">
            <a:extLst>
              <a:ext uri="{FF2B5EF4-FFF2-40B4-BE49-F238E27FC236}">
                <a16:creationId xmlns:a16="http://schemas.microsoft.com/office/drawing/2014/main" id="{BF83FD59-B2EE-42A4-AC03-53869A1132E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0"/>
            <a:ext cx="12193200" cy="6858000"/>
            <a:chOff x="166688" y="158750"/>
            <a:chExt cx="12163425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52F1267F-7172-44B3-9A7E-906E5E4A0F8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1652588"/>
              <a:ext cx="4445000" cy="5351463"/>
            </a:xfrm>
            <a:custGeom>
              <a:avLst/>
              <a:gdLst>
                <a:gd name="T0" fmla="*/ 24755 w 24755"/>
                <a:gd name="T1" fmla="*/ 0 h 29783"/>
                <a:gd name="T2" fmla="*/ 12889 w 24755"/>
                <a:gd name="T3" fmla="*/ 9835 h 29783"/>
                <a:gd name="T4" fmla="*/ 0 w 24755"/>
                <a:gd name="T5" fmla="*/ 29783 h 29783"/>
                <a:gd name="T6" fmla="*/ 24755 w 24755"/>
                <a:gd name="T7" fmla="*/ 29783 h 29783"/>
                <a:gd name="T8" fmla="*/ 24755 w 24755"/>
                <a:gd name="T9" fmla="*/ 0 h 29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55" h="29783">
                  <a:moveTo>
                    <a:pt x="24755" y="0"/>
                  </a:moveTo>
                  <a:cubicBezTo>
                    <a:pt x="20509" y="2731"/>
                    <a:pt x="16519" y="6009"/>
                    <a:pt x="12889" y="9835"/>
                  </a:cubicBezTo>
                  <a:cubicBezTo>
                    <a:pt x="7462" y="15544"/>
                    <a:pt x="3054" y="22280"/>
                    <a:pt x="0" y="29783"/>
                  </a:cubicBezTo>
                  <a:lnTo>
                    <a:pt x="24755" y="29783"/>
                  </a:lnTo>
                  <a:lnTo>
                    <a:pt x="24755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3FDD5063-1FA4-49AC-88A8-BBD3F63223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2028825"/>
              <a:ext cx="12163425" cy="4975225"/>
            </a:xfrm>
            <a:custGeom>
              <a:avLst/>
              <a:gdLst>
                <a:gd name="T0" fmla="*/ 67733 w 67733"/>
                <a:gd name="T1" fmla="*/ 15074 h 27696"/>
                <a:gd name="T2" fmla="*/ 55867 w 67733"/>
                <a:gd name="T3" fmla="*/ 7748 h 27696"/>
                <a:gd name="T4" fmla="*/ 16534 w 67733"/>
                <a:gd name="T5" fmla="*/ 2570 h 27696"/>
                <a:gd name="T6" fmla="*/ 0 w 67733"/>
                <a:gd name="T7" fmla="*/ 8021 h 27696"/>
                <a:gd name="T8" fmla="*/ 0 w 67733"/>
                <a:gd name="T9" fmla="*/ 27696 h 27696"/>
                <a:gd name="T10" fmla="*/ 67733 w 67733"/>
                <a:gd name="T11" fmla="*/ 27696 h 27696"/>
                <a:gd name="T12" fmla="*/ 67733 w 67733"/>
                <a:gd name="T13" fmla="*/ 15074 h 27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7696">
                  <a:moveTo>
                    <a:pt x="67733" y="15074"/>
                  </a:moveTo>
                  <a:cubicBezTo>
                    <a:pt x="64127" y="12264"/>
                    <a:pt x="60164" y="9798"/>
                    <a:pt x="55867" y="7748"/>
                  </a:cubicBezTo>
                  <a:cubicBezTo>
                    <a:pt x="44048" y="2099"/>
                    <a:pt x="30400" y="0"/>
                    <a:pt x="16534" y="2570"/>
                  </a:cubicBezTo>
                  <a:cubicBezTo>
                    <a:pt x="10848" y="3619"/>
                    <a:pt x="5281" y="5438"/>
                    <a:pt x="0" y="8021"/>
                  </a:cubicBezTo>
                  <a:lnTo>
                    <a:pt x="0" y="27696"/>
                  </a:lnTo>
                  <a:lnTo>
                    <a:pt x="67733" y="27696"/>
                  </a:lnTo>
                  <a:lnTo>
                    <a:pt x="67733" y="15074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7D958EC3-4B66-4A2A-814C-45DFD9E57F7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748588" y="158750"/>
              <a:ext cx="3668713" cy="3260725"/>
            </a:xfrm>
            <a:custGeom>
              <a:avLst/>
              <a:gdLst>
                <a:gd name="T0" fmla="*/ 0 w 20424"/>
                <a:gd name="T1" fmla="*/ 0 h 18152"/>
                <a:gd name="T2" fmla="*/ 2651 w 20424"/>
                <a:gd name="T3" fmla="*/ 7721 h 18152"/>
                <a:gd name="T4" fmla="*/ 13643 w 20424"/>
                <a:gd name="T5" fmla="*/ 18152 h 18152"/>
                <a:gd name="T6" fmla="*/ 20167 w 20424"/>
                <a:gd name="T7" fmla="*/ 4475 h 18152"/>
                <a:gd name="T8" fmla="*/ 20347 w 20424"/>
                <a:gd name="T9" fmla="*/ 0 h 18152"/>
                <a:gd name="T10" fmla="*/ 0 w 20424"/>
                <a:gd name="T11" fmla="*/ 0 h 18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424" h="18152">
                  <a:moveTo>
                    <a:pt x="0" y="0"/>
                  </a:moveTo>
                  <a:cubicBezTo>
                    <a:pt x="433" y="2635"/>
                    <a:pt x="1305" y="5243"/>
                    <a:pt x="2651" y="7721"/>
                  </a:cubicBezTo>
                  <a:cubicBezTo>
                    <a:pt x="5035" y="12120"/>
                    <a:pt x="8781" y="15833"/>
                    <a:pt x="13643" y="18152"/>
                  </a:cubicBezTo>
                  <a:cubicBezTo>
                    <a:pt x="17090" y="14526"/>
                    <a:pt x="19464" y="9815"/>
                    <a:pt x="20167" y="4475"/>
                  </a:cubicBezTo>
                  <a:cubicBezTo>
                    <a:pt x="20362" y="2999"/>
                    <a:pt x="20424" y="1501"/>
                    <a:pt x="2034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1E6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F647EA55-DBDB-4E2D-AD6D-F126CFACA5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85113" y="3419475"/>
              <a:ext cx="4445000" cy="3584575"/>
            </a:xfrm>
            <a:custGeom>
              <a:avLst/>
              <a:gdLst>
                <a:gd name="T0" fmla="*/ 24755 w 24755"/>
                <a:gd name="T1" fmla="*/ 7326 h 19948"/>
                <a:gd name="T2" fmla="*/ 12889 w 24755"/>
                <a:gd name="T3" fmla="*/ 0 h 19948"/>
                <a:gd name="T4" fmla="*/ 12889 w 24755"/>
                <a:gd name="T5" fmla="*/ 0 h 19948"/>
                <a:gd name="T6" fmla="*/ 12889 w 24755"/>
                <a:gd name="T7" fmla="*/ 0 h 19948"/>
                <a:gd name="T8" fmla="*/ 0 w 24755"/>
                <a:gd name="T9" fmla="*/ 19948 h 19948"/>
                <a:gd name="T10" fmla="*/ 24755 w 24755"/>
                <a:gd name="T11" fmla="*/ 19948 h 19948"/>
                <a:gd name="T12" fmla="*/ 24755 w 24755"/>
                <a:gd name="T13" fmla="*/ 7326 h 19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755" h="19948">
                  <a:moveTo>
                    <a:pt x="24755" y="7326"/>
                  </a:moveTo>
                  <a:cubicBezTo>
                    <a:pt x="21149" y="4516"/>
                    <a:pt x="17186" y="205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12889" y="0"/>
                    <a:pt x="12889" y="0"/>
                    <a:pt x="12889" y="0"/>
                  </a:cubicBezTo>
                  <a:cubicBezTo>
                    <a:pt x="7462" y="5709"/>
                    <a:pt x="3054" y="12445"/>
                    <a:pt x="0" y="19948"/>
                  </a:cubicBezTo>
                  <a:lnTo>
                    <a:pt x="24755" y="19948"/>
                  </a:lnTo>
                  <a:lnTo>
                    <a:pt x="24755" y="7326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24AB4DAC-943D-40D7-9EED-76F69D6845E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199688" y="1652588"/>
              <a:ext cx="2130425" cy="2232025"/>
            </a:xfrm>
            <a:custGeom>
              <a:avLst/>
              <a:gdLst>
                <a:gd name="T0" fmla="*/ 11866 w 11866"/>
                <a:gd name="T1" fmla="*/ 0 h 12419"/>
                <a:gd name="T2" fmla="*/ 0 w 11866"/>
                <a:gd name="T3" fmla="*/ 9835 h 12419"/>
                <a:gd name="T4" fmla="*/ 0 w 11866"/>
                <a:gd name="T5" fmla="*/ 9835 h 12419"/>
                <a:gd name="T6" fmla="*/ 0 w 11866"/>
                <a:gd name="T7" fmla="*/ 9835 h 12419"/>
                <a:gd name="T8" fmla="*/ 11866 w 11866"/>
                <a:gd name="T9" fmla="*/ 12190 h 12419"/>
                <a:gd name="T10" fmla="*/ 11866 w 11866"/>
                <a:gd name="T11" fmla="*/ 0 h 12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66" h="12419">
                  <a:moveTo>
                    <a:pt x="11866" y="0"/>
                  </a:moveTo>
                  <a:cubicBezTo>
                    <a:pt x="7620" y="2731"/>
                    <a:pt x="3630" y="6009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0" y="9835"/>
                    <a:pt x="0" y="9835"/>
                    <a:pt x="0" y="9835"/>
                  </a:cubicBezTo>
                  <a:cubicBezTo>
                    <a:pt x="3613" y="11562"/>
                    <a:pt x="7674" y="12419"/>
                    <a:pt x="11866" y="12190"/>
                  </a:cubicBezTo>
                  <a:lnTo>
                    <a:pt x="11866" y="0"/>
                  </a:ln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091207B8-FCA3-4AF6-8D9D-ED83A74F3C4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36901" y="2028825"/>
              <a:ext cx="7062788" cy="2867025"/>
            </a:xfrm>
            <a:custGeom>
              <a:avLst/>
              <a:gdLst>
                <a:gd name="T0" fmla="*/ 0 w 39333"/>
                <a:gd name="T1" fmla="*/ 2570 h 15960"/>
                <a:gd name="T2" fmla="*/ 0 w 39333"/>
                <a:gd name="T3" fmla="*/ 2570 h 15960"/>
                <a:gd name="T4" fmla="*/ 10992 w 39333"/>
                <a:gd name="T5" fmla="*/ 13001 h 15960"/>
                <a:gd name="T6" fmla="*/ 26016 w 39333"/>
                <a:gd name="T7" fmla="*/ 14979 h 15960"/>
                <a:gd name="T8" fmla="*/ 39333 w 39333"/>
                <a:gd name="T9" fmla="*/ 7748 h 15960"/>
                <a:gd name="T10" fmla="*/ 39333 w 39333"/>
                <a:gd name="T11" fmla="*/ 7748 h 15960"/>
                <a:gd name="T12" fmla="*/ 39333 w 39333"/>
                <a:gd name="T13" fmla="*/ 7748 h 15960"/>
                <a:gd name="T14" fmla="*/ 0 w 39333"/>
                <a:gd name="T15" fmla="*/ 2570 h 15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333" h="15960">
                  <a:moveTo>
                    <a:pt x="0" y="2570"/>
                  </a:moveTo>
                  <a:cubicBezTo>
                    <a:pt x="0" y="2570"/>
                    <a:pt x="0" y="2570"/>
                    <a:pt x="0" y="2570"/>
                  </a:cubicBezTo>
                  <a:cubicBezTo>
                    <a:pt x="2384" y="6969"/>
                    <a:pt x="6130" y="10682"/>
                    <a:pt x="10992" y="13001"/>
                  </a:cubicBezTo>
                  <a:cubicBezTo>
                    <a:pt x="15506" y="15159"/>
                    <a:pt x="20720" y="15960"/>
                    <a:pt x="26016" y="14979"/>
                  </a:cubicBezTo>
                  <a:cubicBezTo>
                    <a:pt x="30936" y="14071"/>
                    <a:pt x="35625" y="11655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39333" y="7748"/>
                    <a:pt x="39333" y="7748"/>
                    <a:pt x="39333" y="7748"/>
                  </a:cubicBezTo>
                  <a:cubicBezTo>
                    <a:pt x="27514" y="2099"/>
                    <a:pt x="13866" y="0"/>
                    <a:pt x="0" y="2570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2059289" y="2996952"/>
            <a:ext cx="4455881" cy="1572384"/>
          </a:xfrm>
        </p:spPr>
        <p:txBody>
          <a:bodyPr anchor="b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Lisää tähän kiitosteksti tai </a:t>
            </a:r>
            <a:r>
              <a:rPr lang="fi-FI" dirty="0" err="1"/>
              <a:t>lopetuskehoitus</a:t>
            </a:r>
            <a:endParaRPr lang="fi-FI" dirty="0"/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59290" y="4822552"/>
            <a:ext cx="2236510" cy="749149"/>
          </a:xfrm>
        </p:spPr>
        <p:txBody>
          <a:bodyPr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 dirty="0"/>
              <a:t>etunimi.sukunimi@vm.fi </a:t>
            </a:r>
            <a:r>
              <a:rPr lang="es-ES" dirty="0" err="1"/>
              <a:t>Loremipsum</a:t>
            </a:r>
            <a:r>
              <a:rPr lang="es-ES" dirty="0"/>
              <a:t> dolores </a:t>
            </a:r>
            <a:r>
              <a:rPr lang="es-ES" dirty="0" err="1"/>
              <a:t>sitamet</a:t>
            </a:r>
            <a:r>
              <a:rPr lang="es-ES" dirty="0"/>
              <a:t> vm.fi</a:t>
            </a:r>
            <a:endParaRPr lang="fi-FI" dirty="0"/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6E19D34C-D51B-407C-A1A6-BB6CEEC5DD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859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tumm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9B432168-221C-4229-ABD4-620A83233A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7479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Ryhmä 20">
            <a:extLst>
              <a:ext uri="{FF2B5EF4-FFF2-40B4-BE49-F238E27FC236}">
                <a16:creationId xmlns:a16="http://schemas.microsoft.com/office/drawing/2014/main" id="{0EE7235B-98DF-4BBE-9E8E-5C98688095B0}"/>
              </a:ext>
            </a:extLst>
          </p:cNvPr>
          <p:cNvGrpSpPr/>
          <p:nvPr userDrawn="1"/>
        </p:nvGrpSpPr>
        <p:grpSpPr>
          <a:xfrm>
            <a:off x="0" y="-1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64F166F-69FD-49CF-8A3D-68CEF3F28F1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1146175"/>
              <a:ext cx="5070475" cy="5857875"/>
            </a:xfrm>
            <a:custGeom>
              <a:avLst/>
              <a:gdLst>
                <a:gd name="T0" fmla="*/ 28231 w 28231"/>
                <a:gd name="T1" fmla="*/ 0 h 32607"/>
                <a:gd name="T2" fmla="*/ 12810 w 28231"/>
                <a:gd name="T3" fmla="*/ 11644 h 32607"/>
                <a:gd name="T4" fmla="*/ 0 w 28231"/>
                <a:gd name="T5" fmla="*/ 32607 h 32607"/>
                <a:gd name="T6" fmla="*/ 28231 w 28231"/>
                <a:gd name="T7" fmla="*/ 32607 h 32607"/>
                <a:gd name="T8" fmla="*/ 28231 w 28231"/>
                <a:gd name="T9" fmla="*/ 0 h 32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231" h="32607">
                  <a:moveTo>
                    <a:pt x="28231" y="0"/>
                  </a:moveTo>
                  <a:cubicBezTo>
                    <a:pt x="22627" y="2921"/>
                    <a:pt x="17404" y="6803"/>
                    <a:pt x="12810" y="11644"/>
                  </a:cubicBezTo>
                  <a:cubicBezTo>
                    <a:pt x="7200" y="17545"/>
                    <a:pt x="2781" y="24647"/>
                    <a:pt x="0" y="32607"/>
                  </a:cubicBezTo>
                  <a:lnTo>
                    <a:pt x="28231" y="32607"/>
                  </a:lnTo>
                  <a:lnTo>
                    <a:pt x="28231" y="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6EBD2D0-8F8D-40B7-8466-A70F0F222C7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6688" y="1966913"/>
              <a:ext cx="12163425" cy="5037138"/>
            </a:xfrm>
            <a:custGeom>
              <a:avLst/>
              <a:gdLst>
                <a:gd name="T0" fmla="*/ 67733 w 67733"/>
                <a:gd name="T1" fmla="*/ 17739 h 28039"/>
                <a:gd name="T2" fmla="*/ 52312 w 67733"/>
                <a:gd name="T3" fmla="*/ 7076 h 28039"/>
                <a:gd name="T4" fmla="*/ 16393 w 67733"/>
                <a:gd name="T5" fmla="*/ 2347 h 28039"/>
                <a:gd name="T6" fmla="*/ 0 w 67733"/>
                <a:gd name="T7" fmla="*/ 7978 h 28039"/>
                <a:gd name="T8" fmla="*/ 0 w 67733"/>
                <a:gd name="T9" fmla="*/ 28039 h 28039"/>
                <a:gd name="T10" fmla="*/ 67733 w 67733"/>
                <a:gd name="T11" fmla="*/ 28039 h 28039"/>
                <a:gd name="T12" fmla="*/ 67733 w 67733"/>
                <a:gd name="T13" fmla="*/ 17739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733" h="28039">
                  <a:moveTo>
                    <a:pt x="67733" y="17739"/>
                  </a:moveTo>
                  <a:cubicBezTo>
                    <a:pt x="63315" y="13487"/>
                    <a:pt x="58150" y="9861"/>
                    <a:pt x="52312" y="7076"/>
                  </a:cubicBez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67733" y="28039"/>
                  </a:lnTo>
                  <a:lnTo>
                    <a:pt x="67733" y="17739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83D766-1997-4ADC-9D70-135DA7587C6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5AB5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61C55AF5-41ED-4FED-8B17-E572D95A2EF2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ADDA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8207A6F9-D3E1-4322-B846-960DD6FC99C9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59638" y="3238500"/>
              <a:ext cx="5070475" cy="3765550"/>
            </a:xfrm>
            <a:custGeom>
              <a:avLst/>
              <a:gdLst>
                <a:gd name="T0" fmla="*/ 28231 w 28231"/>
                <a:gd name="T1" fmla="*/ 10663 h 20963"/>
                <a:gd name="T2" fmla="*/ 12810 w 28231"/>
                <a:gd name="T3" fmla="*/ 0 h 20963"/>
                <a:gd name="T4" fmla="*/ 12810 w 28231"/>
                <a:gd name="T5" fmla="*/ 0 h 20963"/>
                <a:gd name="T6" fmla="*/ 12810 w 28231"/>
                <a:gd name="T7" fmla="*/ 0 h 20963"/>
                <a:gd name="T8" fmla="*/ 0 w 28231"/>
                <a:gd name="T9" fmla="*/ 20963 h 20963"/>
                <a:gd name="T10" fmla="*/ 28231 w 28231"/>
                <a:gd name="T11" fmla="*/ 20963 h 20963"/>
                <a:gd name="T12" fmla="*/ 28231 w 28231"/>
                <a:gd name="T13" fmla="*/ 10663 h 20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231" h="20963">
                  <a:moveTo>
                    <a:pt x="28231" y="10663"/>
                  </a:moveTo>
                  <a:cubicBezTo>
                    <a:pt x="23813" y="6411"/>
                    <a:pt x="18648" y="2785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12810" y="0"/>
                    <a:pt x="12810" y="0"/>
                    <a:pt x="12810" y="0"/>
                  </a:cubicBezTo>
                  <a:cubicBezTo>
                    <a:pt x="7200" y="5901"/>
                    <a:pt x="2781" y="13003"/>
                    <a:pt x="0" y="20963"/>
                  </a:cubicBezTo>
                  <a:lnTo>
                    <a:pt x="28231" y="20963"/>
                  </a:lnTo>
                  <a:lnTo>
                    <a:pt x="28231" y="10663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B819825-3200-472E-9BDC-39A078E1784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559926" y="1146175"/>
              <a:ext cx="2770188" cy="2576513"/>
            </a:xfrm>
            <a:custGeom>
              <a:avLst/>
              <a:gdLst>
                <a:gd name="T0" fmla="*/ 15421 w 15421"/>
                <a:gd name="T1" fmla="*/ 0 h 14347"/>
                <a:gd name="T2" fmla="*/ 0 w 15421"/>
                <a:gd name="T3" fmla="*/ 11644 h 14347"/>
                <a:gd name="T4" fmla="*/ 0 w 15421"/>
                <a:gd name="T5" fmla="*/ 11644 h 14347"/>
                <a:gd name="T6" fmla="*/ 0 w 15421"/>
                <a:gd name="T7" fmla="*/ 11644 h 14347"/>
                <a:gd name="T8" fmla="*/ 13720 w 15421"/>
                <a:gd name="T9" fmla="*/ 13450 h 14347"/>
                <a:gd name="T10" fmla="*/ 15421 w 15421"/>
                <a:gd name="T11" fmla="*/ 13067 h 14347"/>
                <a:gd name="T12" fmla="*/ 15421 w 15421"/>
                <a:gd name="T13" fmla="*/ 0 h 14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421" h="14347">
                  <a:moveTo>
                    <a:pt x="15421" y="0"/>
                  </a:moveTo>
                  <a:cubicBezTo>
                    <a:pt x="9817" y="2921"/>
                    <a:pt x="4594" y="6803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0" y="11644"/>
                    <a:pt x="0" y="11644"/>
                    <a:pt x="0" y="11644"/>
                  </a:cubicBezTo>
                  <a:cubicBezTo>
                    <a:pt x="4122" y="13615"/>
                    <a:pt x="8883" y="14347"/>
                    <a:pt x="13720" y="13450"/>
                  </a:cubicBezTo>
                  <a:cubicBezTo>
                    <a:pt x="14291" y="13345"/>
                    <a:pt x="14859" y="13217"/>
                    <a:pt x="15421" y="13067"/>
                  </a:cubicBezTo>
                  <a:lnTo>
                    <a:pt x="154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CD504085-D74E-4639-BB3D-F043553024C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, </a:t>
            </a:r>
            <a:br>
              <a:rPr lang="fi-FI" dirty="0"/>
            </a:br>
            <a:r>
              <a:rPr lang="fi-FI" dirty="0"/>
              <a:t>vaalea sininen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13" name="Kuva 12">
            <a:extLst>
              <a:ext uri="{FF2B5EF4-FFF2-40B4-BE49-F238E27FC236}">
                <a16:creationId xmlns:a16="http://schemas.microsoft.com/office/drawing/2014/main" id="{3606673C-8E2D-462A-8FED-E7C3DAE7F60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5071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henkilö, sisä, mies, pöytä">
            <a:extLst>
              <a:ext uri="{FF2B5EF4-FFF2-40B4-BE49-F238E27FC236}">
                <a16:creationId xmlns:a16="http://schemas.microsoft.com/office/drawing/2014/main" id="{7FFB4FBC-1765-4F80-9F01-A708CFC6118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87581" y="973267"/>
            <a:ext cx="5105619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41431723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kuv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Kuva 19" descr="Nuori tyttö käyttää tietokonetta">
            <a:extLst>
              <a:ext uri="{FF2B5EF4-FFF2-40B4-BE49-F238E27FC236}">
                <a16:creationId xmlns:a16="http://schemas.microsoft.com/office/drawing/2014/main" id="{E658BAF6-19C4-470B-B394-894A756A0CD4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91867" y="973267"/>
            <a:ext cx="5101333" cy="5882415"/>
          </a:xfrm>
          <a:prstGeom prst="rect">
            <a:avLst/>
          </a:prstGeom>
        </p:spPr>
      </p:pic>
      <p:grpSp>
        <p:nvGrpSpPr>
          <p:cNvPr id="13" name="Ryhmä 12">
            <a:extLst>
              <a:ext uri="{FF2B5EF4-FFF2-40B4-BE49-F238E27FC236}">
                <a16:creationId xmlns:a16="http://schemas.microsoft.com/office/drawing/2014/main" id="{98655196-BAC0-4CEB-933E-8A4B9D2B7C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3200" cy="6858000"/>
            <a:chOff x="166688" y="158750"/>
            <a:chExt cx="12163426" cy="68453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0297B7B-BF36-40DB-8B62-082661B4EF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08851" y="158750"/>
              <a:ext cx="3365500" cy="3079750"/>
            </a:xfrm>
            <a:custGeom>
              <a:avLst/>
              <a:gdLst>
                <a:gd name="T0" fmla="*/ 18501 w 18750"/>
                <a:gd name="T1" fmla="*/ 4647 h 17137"/>
                <a:gd name="T2" fmla="*/ 18631 w 18750"/>
                <a:gd name="T3" fmla="*/ 0 h 17137"/>
                <a:gd name="T4" fmla="*/ 0 w 18750"/>
                <a:gd name="T5" fmla="*/ 0 h 17137"/>
                <a:gd name="T6" fmla="*/ 2506 w 18750"/>
                <a:gd name="T7" fmla="*/ 7612 h 17137"/>
                <a:gd name="T8" fmla="*/ 12544 w 18750"/>
                <a:gd name="T9" fmla="*/ 17137 h 17137"/>
                <a:gd name="T10" fmla="*/ 18501 w 18750"/>
                <a:gd name="T11" fmla="*/ 4647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50" h="17137">
                  <a:moveTo>
                    <a:pt x="18501" y="4647"/>
                  </a:moveTo>
                  <a:cubicBezTo>
                    <a:pt x="18704" y="3115"/>
                    <a:pt x="18750" y="1558"/>
                    <a:pt x="18631" y="0"/>
                  </a:cubicBezTo>
                  <a:lnTo>
                    <a:pt x="0" y="0"/>
                  </a:lnTo>
                  <a:cubicBezTo>
                    <a:pt x="359" y="2596"/>
                    <a:pt x="1182" y="5172"/>
                    <a:pt x="2506" y="7612"/>
                  </a:cubicBezTo>
                  <a:cubicBezTo>
                    <a:pt x="4683" y="11629"/>
                    <a:pt x="8104" y="15020"/>
                    <a:pt x="12544" y="17137"/>
                  </a:cubicBezTo>
                  <a:cubicBezTo>
                    <a:pt x="15692" y="13825"/>
                    <a:pt x="17859" y="9524"/>
                    <a:pt x="18501" y="4647"/>
                  </a:cubicBezTo>
                  <a:close/>
                </a:path>
              </a:pathLst>
            </a:custGeom>
            <a:solidFill>
              <a:srgbClr val="869C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986AD81-1917-4EF2-BB83-EB1A3A10D4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563101" y="158750"/>
              <a:ext cx="2767013" cy="3076575"/>
            </a:xfrm>
            <a:custGeom>
              <a:avLst/>
              <a:gdLst>
                <a:gd name="T0" fmla="*/ 6077 w 15411"/>
                <a:gd name="T1" fmla="*/ 0 h 17126"/>
                <a:gd name="T2" fmla="*/ 5947 w 15411"/>
                <a:gd name="T3" fmla="*/ 4647 h 17126"/>
                <a:gd name="T4" fmla="*/ 0 w 15411"/>
                <a:gd name="T5" fmla="*/ 17126 h 17126"/>
                <a:gd name="T6" fmla="*/ 15411 w 15411"/>
                <a:gd name="T7" fmla="*/ 5493 h 17126"/>
                <a:gd name="T8" fmla="*/ 15411 w 15411"/>
                <a:gd name="T9" fmla="*/ 0 h 17126"/>
                <a:gd name="T10" fmla="*/ 6077 w 15411"/>
                <a:gd name="T11" fmla="*/ 0 h 17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411" h="17126">
                  <a:moveTo>
                    <a:pt x="6077" y="0"/>
                  </a:moveTo>
                  <a:cubicBezTo>
                    <a:pt x="6196" y="1558"/>
                    <a:pt x="6150" y="3115"/>
                    <a:pt x="5947" y="4647"/>
                  </a:cubicBezTo>
                  <a:cubicBezTo>
                    <a:pt x="5306" y="9519"/>
                    <a:pt x="3142" y="13816"/>
                    <a:pt x="0" y="17126"/>
                  </a:cubicBezTo>
                  <a:cubicBezTo>
                    <a:pt x="4591" y="12291"/>
                    <a:pt x="9811" y="8411"/>
                    <a:pt x="15411" y="5493"/>
                  </a:cubicBezTo>
                  <a:lnTo>
                    <a:pt x="15411" y="0"/>
                  </a:lnTo>
                  <a:lnTo>
                    <a:pt x="6077" y="0"/>
                  </a:lnTo>
                  <a:close/>
                </a:path>
              </a:pathLst>
            </a:custGeom>
            <a:solidFill>
              <a:srgbClr val="C3CE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79F90214-63B6-4096-8845-0104201FD1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688" y="1966913"/>
              <a:ext cx="9393238" cy="5037138"/>
            </a:xfrm>
            <a:custGeom>
              <a:avLst/>
              <a:gdLst>
                <a:gd name="T0" fmla="*/ 52312 w 52312"/>
                <a:gd name="T1" fmla="*/ 7076 h 28039"/>
                <a:gd name="T2" fmla="*/ 16393 w 52312"/>
                <a:gd name="T3" fmla="*/ 2347 h 28039"/>
                <a:gd name="T4" fmla="*/ 0 w 52312"/>
                <a:gd name="T5" fmla="*/ 7978 h 28039"/>
                <a:gd name="T6" fmla="*/ 0 w 52312"/>
                <a:gd name="T7" fmla="*/ 28039 h 28039"/>
                <a:gd name="T8" fmla="*/ 39502 w 52312"/>
                <a:gd name="T9" fmla="*/ 28039 h 28039"/>
                <a:gd name="T10" fmla="*/ 52312 w 52312"/>
                <a:gd name="T11" fmla="*/ 7076 h 28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312" h="28039">
                  <a:moveTo>
                    <a:pt x="52312" y="7076"/>
                  </a:moveTo>
                  <a:cubicBezTo>
                    <a:pt x="41519" y="1917"/>
                    <a:pt x="29055" y="0"/>
                    <a:pt x="16393" y="2347"/>
                  </a:cubicBezTo>
                  <a:cubicBezTo>
                    <a:pt x="10734" y="3391"/>
                    <a:pt x="5203" y="5270"/>
                    <a:pt x="0" y="7978"/>
                  </a:cubicBezTo>
                  <a:lnTo>
                    <a:pt x="0" y="28039"/>
                  </a:lnTo>
                  <a:lnTo>
                    <a:pt x="39502" y="28039"/>
                  </a:lnTo>
                  <a:cubicBezTo>
                    <a:pt x="42283" y="20079"/>
                    <a:pt x="46702" y="12977"/>
                    <a:pt x="52312" y="7076"/>
                  </a:cubicBez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74543203-7BF6-4F24-99A4-FC9AE2D693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11501" y="1966913"/>
              <a:ext cx="6448425" cy="2617788"/>
            </a:xfrm>
            <a:custGeom>
              <a:avLst/>
              <a:gdLst>
                <a:gd name="T0" fmla="*/ 0 w 35919"/>
                <a:gd name="T1" fmla="*/ 2347 h 14576"/>
                <a:gd name="T2" fmla="*/ 0 w 35919"/>
                <a:gd name="T3" fmla="*/ 2347 h 14576"/>
                <a:gd name="T4" fmla="*/ 10038 w 35919"/>
                <a:gd name="T5" fmla="*/ 11873 h 14576"/>
                <a:gd name="T6" fmla="*/ 23758 w 35919"/>
                <a:gd name="T7" fmla="*/ 13679 h 14576"/>
                <a:gd name="T8" fmla="*/ 35919 w 35919"/>
                <a:gd name="T9" fmla="*/ 7076 h 14576"/>
                <a:gd name="T10" fmla="*/ 35919 w 35919"/>
                <a:gd name="T11" fmla="*/ 7076 h 14576"/>
                <a:gd name="T12" fmla="*/ 35919 w 35919"/>
                <a:gd name="T13" fmla="*/ 7076 h 14576"/>
                <a:gd name="T14" fmla="*/ 0 w 35919"/>
                <a:gd name="T15" fmla="*/ 2347 h 14576"/>
                <a:gd name="T16" fmla="*/ 0 w 35919"/>
                <a:gd name="T17" fmla="*/ 2347 h 14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919" h="14576">
                  <a:moveTo>
                    <a:pt x="0" y="2347"/>
                  </a:moveTo>
                  <a:cubicBezTo>
                    <a:pt x="0" y="2347"/>
                    <a:pt x="0" y="2347"/>
                    <a:pt x="0" y="2347"/>
                  </a:cubicBezTo>
                  <a:cubicBezTo>
                    <a:pt x="2177" y="6365"/>
                    <a:pt x="5598" y="9755"/>
                    <a:pt x="10038" y="11873"/>
                  </a:cubicBezTo>
                  <a:cubicBezTo>
                    <a:pt x="14160" y="13843"/>
                    <a:pt x="18921" y="14576"/>
                    <a:pt x="23758" y="13679"/>
                  </a:cubicBezTo>
                  <a:cubicBezTo>
                    <a:pt x="28251" y="12850"/>
                    <a:pt x="32533" y="10644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35919" y="7076"/>
                    <a:pt x="35919" y="7076"/>
                    <a:pt x="35919" y="7076"/>
                  </a:cubicBezTo>
                  <a:cubicBezTo>
                    <a:pt x="25126" y="1917"/>
                    <a:pt x="12662" y="0"/>
                    <a:pt x="0" y="2347"/>
                  </a:cubicBezTo>
                  <a:cubicBezTo>
                    <a:pt x="0" y="2347"/>
                    <a:pt x="0" y="2347"/>
                    <a:pt x="0" y="2347"/>
                  </a:cubicBezTo>
                  <a:close/>
                </a:path>
              </a:pathLst>
            </a:custGeom>
            <a:solidFill>
              <a:srgbClr val="2E50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C04E04C8-35A5-45D6-A655-664B6E9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26920" y="3073399"/>
            <a:ext cx="6661368" cy="1864043"/>
          </a:xfrm>
        </p:spPr>
        <p:txBody>
          <a:bodyPr anchor="b"/>
          <a:lstStyle>
            <a:lvl1pPr algn="l">
              <a:defRPr sz="4100">
                <a:solidFill>
                  <a:srgbClr val="FFFFFF"/>
                </a:solidFill>
              </a:defRPr>
            </a:lvl1pPr>
          </a:lstStyle>
          <a:p>
            <a:r>
              <a:rPr lang="fi-FI" dirty="0"/>
              <a:t>Esityksen aloitussivu </a:t>
            </a:r>
            <a:br>
              <a:rPr lang="fi-FI" dirty="0"/>
            </a:br>
            <a:r>
              <a:rPr lang="fi-FI" dirty="0"/>
              <a:t>valokuvalla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06C93D0-DA83-4CF7-A503-5AEDE6A9787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026920" y="5318760"/>
            <a:ext cx="8641080" cy="702528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30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Esittäjän nimi, tehtävänimike</a:t>
            </a:r>
          </a:p>
          <a:p>
            <a:r>
              <a:rPr lang="fi-FI" dirty="0" err="1"/>
              <a:t>pp.kk.vvvv</a:t>
            </a:r>
            <a:endParaRPr lang="fi-FI" dirty="0"/>
          </a:p>
          <a:p>
            <a:r>
              <a:rPr lang="fi-FI" dirty="0"/>
              <a:t>Tilaisuuden nimi </a:t>
            </a: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F5617BC5-F913-49ED-AFBD-024D12849E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39" y="188259"/>
            <a:ext cx="5687933" cy="1864659"/>
          </a:xfrm>
          <a:prstGeom prst="rect">
            <a:avLst/>
          </a:prstGeom>
        </p:spPr>
      </p:pic>
      <p:grpSp>
        <p:nvGrpSpPr>
          <p:cNvPr id="7" name="Ryhmä 6">
            <a:extLst>
              <a:ext uri="{FF2B5EF4-FFF2-40B4-BE49-F238E27FC236}">
                <a16:creationId xmlns:a16="http://schemas.microsoft.com/office/drawing/2014/main" id="{44593400-35D8-4F3C-AF85-15B2984DEEA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952933" y="-4764"/>
            <a:ext cx="9241593" cy="6858000"/>
            <a:chOff x="2938463" y="7938"/>
            <a:chExt cx="9220200" cy="6842125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290D9381-F0D4-40B4-9904-9A77986863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88475" y="7938"/>
              <a:ext cx="1116013" cy="3076575"/>
            </a:xfrm>
            <a:custGeom>
              <a:avLst/>
              <a:gdLst>
                <a:gd name="T0" fmla="*/ 0 w 6206"/>
                <a:gd name="T1" fmla="*/ 17137 h 17137"/>
                <a:gd name="T2" fmla="*/ 5958 w 6206"/>
                <a:gd name="T3" fmla="*/ 4647 h 17137"/>
                <a:gd name="T4" fmla="*/ 6087 w 6206"/>
                <a:gd name="T5" fmla="*/ 0 h 17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206" h="17137">
                  <a:moveTo>
                    <a:pt x="0" y="17137"/>
                  </a:moveTo>
                  <a:cubicBezTo>
                    <a:pt x="3148" y="13825"/>
                    <a:pt x="5316" y="9524"/>
                    <a:pt x="5958" y="4647"/>
                  </a:cubicBezTo>
                  <a:cubicBezTo>
                    <a:pt x="6161" y="3115"/>
                    <a:pt x="6206" y="1557"/>
                    <a:pt x="6087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B5990616-E55A-4020-B8F8-78355F9115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38463" y="2235200"/>
              <a:ext cx="6450013" cy="2197100"/>
            </a:xfrm>
            <a:custGeom>
              <a:avLst/>
              <a:gdLst>
                <a:gd name="T0" fmla="*/ 0 w 35919"/>
                <a:gd name="T1" fmla="*/ 0 h 12228"/>
                <a:gd name="T2" fmla="*/ 0 w 35919"/>
                <a:gd name="T3" fmla="*/ 0 h 12228"/>
                <a:gd name="T4" fmla="*/ 10038 w 35919"/>
                <a:gd name="T5" fmla="*/ 9526 h 12228"/>
                <a:gd name="T6" fmla="*/ 23758 w 35919"/>
                <a:gd name="T7" fmla="*/ 11332 h 12228"/>
                <a:gd name="T8" fmla="*/ 35919 w 35919"/>
                <a:gd name="T9" fmla="*/ 4729 h 12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919" h="12228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177" y="4017"/>
                    <a:pt x="5598" y="7408"/>
                    <a:pt x="10038" y="9526"/>
                  </a:cubicBezTo>
                  <a:cubicBezTo>
                    <a:pt x="14161" y="11496"/>
                    <a:pt x="18921" y="12228"/>
                    <a:pt x="23758" y="11332"/>
                  </a:cubicBezTo>
                  <a:cubicBezTo>
                    <a:pt x="28251" y="10503"/>
                    <a:pt x="32533" y="8297"/>
                    <a:pt x="35919" y="4729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05324B2E-648B-4B14-B99E-EE80DB545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9775" y="992188"/>
              <a:ext cx="5068888" cy="5857875"/>
            </a:xfrm>
            <a:custGeom>
              <a:avLst/>
              <a:gdLst>
                <a:gd name="T0" fmla="*/ 28223 w 28223"/>
                <a:gd name="T1" fmla="*/ 0 h 32612"/>
                <a:gd name="T2" fmla="*/ 12805 w 28223"/>
                <a:gd name="T3" fmla="*/ 11623 h 32612"/>
                <a:gd name="T4" fmla="*/ 0 w 28223"/>
                <a:gd name="T5" fmla="*/ 32612 h 32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223" h="32612">
                  <a:moveTo>
                    <a:pt x="28223" y="0"/>
                  </a:moveTo>
                  <a:cubicBezTo>
                    <a:pt x="22624" y="2945"/>
                    <a:pt x="17404" y="6777"/>
                    <a:pt x="12805" y="11623"/>
                  </a:cubicBezTo>
                  <a:cubicBezTo>
                    <a:pt x="7179" y="17543"/>
                    <a:pt x="2827" y="24650"/>
                    <a:pt x="0" y="32612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>
              <a:extLst>
                <a:ext uri="{FF2B5EF4-FFF2-40B4-BE49-F238E27FC236}">
                  <a16:creationId xmlns:a16="http://schemas.microsoft.com/office/drawing/2014/main" id="{3C537B99-3083-4452-B38C-45CF86D6AB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377392" y="3082917"/>
              <a:ext cx="2768600" cy="493713"/>
            </a:xfrm>
            <a:custGeom>
              <a:avLst/>
              <a:gdLst>
                <a:gd name="T0" fmla="*/ 0 w 15418"/>
                <a:gd name="T1" fmla="*/ 0 h 2747"/>
                <a:gd name="T2" fmla="*/ 13942 w 15418"/>
                <a:gd name="T3" fmla="*/ 1836 h 2747"/>
                <a:gd name="T4" fmla="*/ 15418 w 15418"/>
                <a:gd name="T5" fmla="*/ 1513 h 2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418" h="2747">
                  <a:moveTo>
                    <a:pt x="0" y="0"/>
                  </a:moveTo>
                  <a:cubicBezTo>
                    <a:pt x="4190" y="2003"/>
                    <a:pt x="9027" y="2747"/>
                    <a:pt x="13942" y="1836"/>
                  </a:cubicBezTo>
                  <a:cubicBezTo>
                    <a:pt x="14437" y="1745"/>
                    <a:pt x="14929" y="1637"/>
                    <a:pt x="15418" y="1513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FDA7D83F-3F9B-41F7-85B4-DD9CA614BA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100" y="2176195"/>
              <a:ext cx="5770563" cy="2806966"/>
            </a:xfrm>
            <a:custGeom>
              <a:avLst/>
              <a:gdLst>
                <a:gd name="T0" fmla="*/ 32132 w 32132"/>
                <a:gd name="T1" fmla="*/ 15735 h 15735"/>
                <a:gd name="T2" fmla="*/ 16714 w 32132"/>
                <a:gd name="T3" fmla="*/ 5143 h 15735"/>
                <a:gd name="T4" fmla="*/ 0 w 32132"/>
                <a:gd name="T5" fmla="*/ 0 h 15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2132" h="15735">
                  <a:moveTo>
                    <a:pt x="32132" y="15735"/>
                  </a:moveTo>
                  <a:cubicBezTo>
                    <a:pt x="27699" y="11519"/>
                    <a:pt x="22536" y="7920"/>
                    <a:pt x="16714" y="5143"/>
                  </a:cubicBezTo>
                  <a:cubicBezTo>
                    <a:pt x="11476" y="2639"/>
                    <a:pt x="5850" y="887"/>
                    <a:pt x="0" y="0"/>
                  </a:cubicBezTo>
                </a:path>
              </a:pathLst>
            </a:custGeom>
            <a:noFill/>
            <a:ln w="6350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8770812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194936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. </a:t>
            </a:r>
            <a:br>
              <a:rPr lang="fi-FI" dirty="0"/>
            </a:br>
            <a:r>
              <a:rPr lang="fi-FI" dirty="0"/>
              <a:t>Otsikon pituus korkeintaan kaksi rivi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77F5A965-5012-417E-A4D7-9CB8DE3A38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9E0DD3D-67FB-4C7B-917A-622EAB8FF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68419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ot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yksipalstainen väliotsikolla.</a:t>
            </a:r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0904BD93-F0C4-4A6C-9010-5804694C71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1050" y="1758315"/>
            <a:ext cx="10571163" cy="446549"/>
          </a:xfrm>
        </p:spPr>
        <p:txBody>
          <a:bodyPr/>
          <a:lstStyle>
            <a:lvl1pPr marL="0" indent="0">
              <a:buNone/>
              <a:defRPr b="1"/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Väli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2285999"/>
            <a:ext cx="10571480" cy="372476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ADF7489-4677-49C3-A1B0-538615DB37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CDDDB65-8BD7-43F3-A41C-27411B8405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6378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kaksipalstainen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1764323"/>
            <a:ext cx="5156538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1764323"/>
            <a:ext cx="5187462" cy="4248000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284290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CC4F7C78-A52D-432E-ABE0-474D88E879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Tekstisivu, vertailu. </a:t>
            </a:r>
            <a:br>
              <a:rPr lang="fi-FI" dirty="0"/>
            </a:br>
            <a:r>
              <a:rPr lang="fi-FI" dirty="0"/>
              <a:t>Otsikon pituus korkeintaan kaksi riviä.</a:t>
            </a:r>
          </a:p>
        </p:txBody>
      </p:sp>
      <p:sp>
        <p:nvSpPr>
          <p:cNvPr id="7" name="Tekstin paikkamerkki 2">
            <a:extLst>
              <a:ext uri="{FF2B5EF4-FFF2-40B4-BE49-F238E27FC236}">
                <a16:creationId xmlns:a16="http://schemas.microsoft.com/office/drawing/2014/main" id="{CC5AFB07-741E-400C-B07F-CFAD1C24366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781201" y="1764323"/>
            <a:ext cx="515653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888B6C4-5AF4-4DF4-8225-6AF58A983C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81200" y="2235200"/>
            <a:ext cx="5156538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Tekstin paikkamerkki 4">
            <a:extLst>
              <a:ext uri="{FF2B5EF4-FFF2-40B4-BE49-F238E27FC236}">
                <a16:creationId xmlns:a16="http://schemas.microsoft.com/office/drawing/2014/main" id="{FE13A6AE-0F0A-413E-AE09-F64745829C8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764323"/>
            <a:ext cx="5183188" cy="368533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Pieni otsikk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C8DAA36-9661-453A-88FF-C63D5A3970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6338" y="2235200"/>
            <a:ext cx="5187462" cy="3777122"/>
          </a:xfrm>
        </p:spPr>
        <p:txBody>
          <a:bodyPr/>
          <a:lstStyle>
            <a:lvl1pPr marL="269875" indent="-269875">
              <a:defRPr sz="2200"/>
            </a:lvl1pPr>
            <a:lvl2pPr marL="627063" indent="-266700">
              <a:defRPr/>
            </a:lvl2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09FAA0A5-DDF1-43F9-A865-72A7FE3F7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4C134378-0675-4F71-B293-32F7DBD6E4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718750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161474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vatekstillinen kuvapaik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320" y="306000"/>
            <a:ext cx="5025648" cy="1325563"/>
          </a:xfrm>
        </p:spPr>
        <p:txBody>
          <a:bodyPr/>
          <a:lstStyle>
            <a:lvl1pPr>
              <a:defRPr/>
            </a:lvl1pPr>
          </a:lstStyle>
          <a:p>
            <a:r>
              <a:rPr lang="fi-FI" dirty="0"/>
              <a:t>Tekstisivu kuvalla, </a:t>
            </a:r>
            <a:br>
              <a:rPr lang="fi-FI" dirty="0"/>
            </a:br>
            <a:r>
              <a:rPr lang="fi-FI" dirty="0"/>
              <a:t>lyhyt otsikko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5025648" cy="4248000"/>
          </a:xfrm>
        </p:spPr>
        <p:txBody>
          <a:bodyPr/>
          <a:lstStyle>
            <a:lvl1pPr marL="269875" indent="-269875">
              <a:defRPr sz="2200"/>
            </a:lvl1pPr>
            <a:lvl2pPr marL="625475" indent="-265113">
              <a:defRPr/>
            </a:lvl2pPr>
            <a:lvl3pPr marL="715962" indent="0">
              <a:buNone/>
              <a:defRPr/>
            </a:lvl3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</p:txBody>
      </p:sp>
      <p:sp>
        <p:nvSpPr>
          <p:cNvPr id="8" name="Kuvan paikkamerkki 19">
            <a:extLst>
              <a:ext uri="{FF2B5EF4-FFF2-40B4-BE49-F238E27FC236}">
                <a16:creationId xmlns:a16="http://schemas.microsoft.com/office/drawing/2014/main" id="{1CD34E48-431E-47C9-8075-E449B22F1C1A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13461" y="-4484"/>
            <a:ext cx="6086310" cy="6866965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6086309"/>
              <a:gd name="connsiteY0" fmla="*/ 4483 h 6862483"/>
              <a:gd name="connsiteX1" fmla="*/ 6086309 w 6086309"/>
              <a:gd name="connsiteY1" fmla="*/ 0 h 6862483"/>
              <a:gd name="connsiteX2" fmla="*/ 4087180 w 6086309"/>
              <a:gd name="connsiteY2" fmla="*/ 6862483 h 6862483"/>
              <a:gd name="connsiteX3" fmla="*/ 655475 w 6086309"/>
              <a:gd name="connsiteY3" fmla="*/ 6862483 h 6862483"/>
              <a:gd name="connsiteX4" fmla="*/ 5 w 6086309"/>
              <a:gd name="connsiteY4" fmla="*/ 3409885 h 6862483"/>
              <a:gd name="connsiteX5" fmla="*/ 655475 w 6086309"/>
              <a:gd name="connsiteY5" fmla="*/ 4483 h 6862483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  <a:gd name="connsiteX0" fmla="*/ 655475 w 6086310"/>
              <a:gd name="connsiteY0" fmla="*/ 4483 h 6866965"/>
              <a:gd name="connsiteX1" fmla="*/ 6086309 w 6086310"/>
              <a:gd name="connsiteY1" fmla="*/ 0 h 6866965"/>
              <a:gd name="connsiteX2" fmla="*/ 6086310 w 6086310"/>
              <a:gd name="connsiteY2" fmla="*/ 6866965 h 6866965"/>
              <a:gd name="connsiteX3" fmla="*/ 655475 w 6086310"/>
              <a:gd name="connsiteY3" fmla="*/ 6862483 h 6866965"/>
              <a:gd name="connsiteX4" fmla="*/ 5 w 6086310"/>
              <a:gd name="connsiteY4" fmla="*/ 3409885 h 6866965"/>
              <a:gd name="connsiteX5" fmla="*/ 655475 w 6086310"/>
              <a:gd name="connsiteY5" fmla="*/ 4483 h 6866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86310" h="6866965">
                <a:moveTo>
                  <a:pt x="655475" y="4483"/>
                </a:moveTo>
                <a:lnTo>
                  <a:pt x="6086309" y="0"/>
                </a:lnTo>
                <a:cubicBezTo>
                  <a:pt x="6086309" y="2288988"/>
                  <a:pt x="6086310" y="4577977"/>
                  <a:pt x="6086310" y="6866965"/>
                </a:cubicBezTo>
                <a:lnTo>
                  <a:pt x="655475" y="6862483"/>
                </a:lnTo>
                <a:cubicBezTo>
                  <a:pt x="198241" y="5584022"/>
                  <a:pt x="-1047" y="4542725"/>
                  <a:pt x="5" y="3409885"/>
                </a:cubicBezTo>
                <a:cubicBezTo>
                  <a:pt x="1057" y="2277045"/>
                  <a:pt x="220670" y="999399"/>
                  <a:pt x="655475" y="4483"/>
                </a:cubicBezTo>
                <a:close/>
              </a:path>
            </a:pathLst>
          </a:cu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9700E9CE-DAC8-4704-A149-43A60B27A84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522E9968-6017-4856-A4C4-E7595C39E8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987774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15F941-B7C0-48FA-BC12-7B7C226826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7CD8110F-CCB3-4F2C-A24C-583951140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DD1E9F2C-6E23-43A9-A7DE-626D34CED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130109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CBD59BAD-0669-42AB-9904-BB6AA4465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F973901-92EE-424C-B835-C2D00C6C55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113963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356350" cy="252698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</a:t>
            </a:r>
            <a:br>
              <a:rPr lang="fi-FI" dirty="0"/>
            </a:br>
            <a:r>
              <a:rPr lang="fi-FI" dirty="0"/>
              <a:t>esityksen </a:t>
            </a:r>
            <a:br>
              <a:rPr lang="fi-FI" dirty="0"/>
            </a:br>
            <a:r>
              <a:rPr lang="fi-FI" dirty="0"/>
              <a:t>jäsentämiseen, </a:t>
            </a:r>
            <a:br>
              <a:rPr lang="fi-FI" dirty="0"/>
            </a:br>
            <a:r>
              <a:rPr lang="fi-FI" dirty="0"/>
              <a:t>4 riviä lyhyellä tekstill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9F8BFF4-EC86-4A85-B914-B241AE572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8" name="Dian numeron paikkamerkki 7">
            <a:extLst>
              <a:ext uri="{FF2B5EF4-FFF2-40B4-BE49-F238E27FC236}">
                <a16:creationId xmlns:a16="http://schemas.microsoft.com/office/drawing/2014/main" id="{4F20DE8F-8CBA-4069-B1E4-BBCC9BE8A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400224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Ryhmä 13">
            <a:extLst>
              <a:ext uri="{FF2B5EF4-FFF2-40B4-BE49-F238E27FC236}">
                <a16:creationId xmlns:a16="http://schemas.microsoft.com/office/drawing/2014/main" id="{4D532A6C-0B99-4216-A2F9-969D711A60D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21C24B7-8266-4B7D-8989-0F53D893F86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693150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999390E-2FB8-427B-B933-E6E732173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A7E893D-9A24-4C16-949F-F2219584D4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02C92432-A7C5-495D-9420-AEC24657CB0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EBEE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6932414" cy="87193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9" name="Alatunnisteen paikkamerkki 8">
            <a:extLst>
              <a:ext uri="{FF2B5EF4-FFF2-40B4-BE49-F238E27FC236}">
                <a16:creationId xmlns:a16="http://schemas.microsoft.com/office/drawing/2014/main" id="{D25FCF1C-6312-4783-B492-30778B19C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5" name="Dian numeron paikkamerkki 14">
            <a:extLst>
              <a:ext uri="{FF2B5EF4-FFF2-40B4-BE49-F238E27FC236}">
                <a16:creationId xmlns:a16="http://schemas.microsoft.com/office/drawing/2014/main" id="{B58E6CF3-2C51-4D95-85AA-2F72E91E1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06723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>
            <a:extLst>
              <a:ext uri="{FF2B5EF4-FFF2-40B4-BE49-F238E27FC236}">
                <a16:creationId xmlns:a16="http://schemas.microsoft.com/office/drawing/2014/main" id="{730CA868-3E6E-4D0A-9513-AB5294AD3A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i-FI" dirty="0"/>
              <a:t>Grafiikkasivu, kuva ja tekstitiivistelmä vierekkäin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EA7B6C4-99CF-45B0-9979-1EA10BFE39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2320" y="1762761"/>
            <a:ext cx="6164822" cy="4248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8" name="Tekstin paikkamerkki 22">
            <a:extLst>
              <a:ext uri="{FF2B5EF4-FFF2-40B4-BE49-F238E27FC236}">
                <a16:creationId xmlns:a16="http://schemas.microsoft.com/office/drawing/2014/main" id="{3031A60E-285E-4799-8337-B7C931123A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26518" y="1959997"/>
            <a:ext cx="4286106" cy="3802327"/>
          </a:xfrm>
        </p:spPr>
        <p:txBody>
          <a:bodyPr/>
          <a:lstStyle>
            <a:lvl1pPr marL="269875" indent="-269875">
              <a:lnSpc>
                <a:spcPct val="95000"/>
              </a:lnSpc>
              <a:defRPr sz="19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1" name="Alatunnisteen paikkamerkki 10">
            <a:extLst>
              <a:ext uri="{FF2B5EF4-FFF2-40B4-BE49-F238E27FC236}">
                <a16:creationId xmlns:a16="http://schemas.microsoft.com/office/drawing/2014/main" id="{CD9B7E4D-B77A-4CF1-B584-356F4C4B32D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2" name="Dian numeron paikkamerkki 11">
            <a:extLst>
              <a:ext uri="{FF2B5EF4-FFF2-40B4-BE49-F238E27FC236}">
                <a16:creationId xmlns:a16="http://schemas.microsoft.com/office/drawing/2014/main" id="{9B664EFA-778C-4D9B-A7A3-46CB8D5370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181242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1955671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 esityksen </a:t>
            </a:r>
            <a:br>
              <a:rPr lang="fi-FI" dirty="0"/>
            </a:br>
            <a:r>
              <a:rPr lang="fi-FI" dirty="0"/>
              <a:t>jäsentämiseen pitkällä tekstillä</a:t>
            </a:r>
            <a:br>
              <a:rPr lang="fi-FI" dirty="0"/>
            </a:br>
            <a:r>
              <a:rPr lang="fi-FI" dirty="0" err="1"/>
              <a:t>max</a:t>
            </a:r>
            <a:r>
              <a:rPr lang="fi-FI" dirty="0"/>
              <a:t>. 3 rivi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5A33775A-8692-4630-B0A7-351A15032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DBD8842B-CE46-458C-9327-5C7AC4214D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604474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371D5EAE-A81E-4265-8AF7-3903B28582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0" y="-1"/>
            <a:ext cx="12193200" cy="6858000"/>
            <a:chOff x="14288" y="6350"/>
            <a:chExt cx="12163426" cy="6845301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044C3A0F-7691-49FE-96B6-E859DEADF16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818016" cy="6845300"/>
            </a:xfrm>
            <a:custGeom>
              <a:avLst/>
              <a:gdLst>
                <a:gd name="T0" fmla="*/ 44859 w 48412"/>
                <a:gd name="T1" fmla="*/ 38100 h 38100"/>
                <a:gd name="T2" fmla="*/ 45228 w 48412"/>
                <a:gd name="T3" fmla="*/ 7653 h 38100"/>
                <a:gd name="T4" fmla="*/ 48412 w 48412"/>
                <a:gd name="T5" fmla="*/ 0 h 38100"/>
                <a:gd name="T6" fmla="*/ 0 w 48412"/>
                <a:gd name="T7" fmla="*/ 0 h 38100"/>
                <a:gd name="T8" fmla="*/ 0 w 48412"/>
                <a:gd name="T9" fmla="*/ 38100 h 38100"/>
                <a:gd name="T10" fmla="*/ 44859 w 48412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412" h="38100">
                  <a:moveTo>
                    <a:pt x="44859" y="38100"/>
                  </a:moveTo>
                  <a:cubicBezTo>
                    <a:pt x="41980" y="28483"/>
                    <a:pt x="41891" y="17923"/>
                    <a:pt x="45228" y="7653"/>
                  </a:cubicBezTo>
                  <a:cubicBezTo>
                    <a:pt x="46078" y="5031"/>
                    <a:pt x="47141" y="2470"/>
                    <a:pt x="48412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59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A1030837-DB02-4459-9A4B-059E434446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537451" y="6350"/>
              <a:ext cx="4640263" cy="6845300"/>
            </a:xfrm>
            <a:custGeom>
              <a:avLst/>
              <a:gdLst>
                <a:gd name="T0" fmla="*/ 6521 w 25842"/>
                <a:gd name="T1" fmla="*/ 0 h 38100"/>
                <a:gd name="T2" fmla="*/ 3337 w 25842"/>
                <a:gd name="T3" fmla="*/ 7653 h 38100"/>
                <a:gd name="T4" fmla="*/ 2968 w 25842"/>
                <a:gd name="T5" fmla="*/ 38100 h 38100"/>
                <a:gd name="T6" fmla="*/ 4942 w 25842"/>
                <a:gd name="T7" fmla="*/ 38100 h 38100"/>
                <a:gd name="T8" fmla="*/ 25842 w 25842"/>
                <a:gd name="T9" fmla="*/ 18671 h 38100"/>
                <a:gd name="T10" fmla="*/ 25842 w 25842"/>
                <a:gd name="T11" fmla="*/ 0 h 38100"/>
                <a:gd name="T12" fmla="*/ 6521 w 25842"/>
                <a:gd name="T13" fmla="*/ 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842" h="38100">
                  <a:moveTo>
                    <a:pt x="6521" y="0"/>
                  </a:moveTo>
                  <a:cubicBezTo>
                    <a:pt x="5250" y="2470"/>
                    <a:pt x="4187" y="5031"/>
                    <a:pt x="3337" y="7653"/>
                  </a:cubicBezTo>
                  <a:cubicBezTo>
                    <a:pt x="0" y="17923"/>
                    <a:pt x="89" y="28483"/>
                    <a:pt x="2968" y="38100"/>
                  </a:cubicBezTo>
                  <a:lnTo>
                    <a:pt x="4942" y="38100"/>
                  </a:lnTo>
                  <a:cubicBezTo>
                    <a:pt x="12730" y="32266"/>
                    <a:pt x="19704" y="25740"/>
                    <a:pt x="25842" y="18671"/>
                  </a:cubicBezTo>
                  <a:lnTo>
                    <a:pt x="25842" y="0"/>
                  </a:lnTo>
                  <a:lnTo>
                    <a:pt x="6521" y="0"/>
                  </a:lnTo>
                  <a:close/>
                </a:path>
              </a:pathLst>
            </a:custGeom>
            <a:solidFill>
              <a:srgbClr val="4A6BC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C76AF66B-5E40-49AE-9A2F-3ABA9901A07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424863" y="3360738"/>
              <a:ext cx="3752850" cy="3490913"/>
            </a:xfrm>
            <a:custGeom>
              <a:avLst/>
              <a:gdLst>
                <a:gd name="T0" fmla="*/ 20900 w 20900"/>
                <a:gd name="T1" fmla="*/ 0 h 19429"/>
                <a:gd name="T2" fmla="*/ 0 w 20900"/>
                <a:gd name="T3" fmla="*/ 19429 h 19429"/>
                <a:gd name="T4" fmla="*/ 98 w 20900"/>
                <a:gd name="T5" fmla="*/ 19429 h 19429"/>
                <a:gd name="T6" fmla="*/ 20900 w 20900"/>
                <a:gd name="T7" fmla="*/ 11398 h 19429"/>
                <a:gd name="T8" fmla="*/ 20900 w 20900"/>
                <a:gd name="T9" fmla="*/ 0 h 19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900" h="19429">
                  <a:moveTo>
                    <a:pt x="20900" y="0"/>
                  </a:moveTo>
                  <a:cubicBezTo>
                    <a:pt x="14762" y="7069"/>
                    <a:pt x="7788" y="13595"/>
                    <a:pt x="0" y="19429"/>
                  </a:cubicBezTo>
                  <a:lnTo>
                    <a:pt x="98" y="19429"/>
                  </a:lnTo>
                  <a:cubicBezTo>
                    <a:pt x="6228" y="15335"/>
                    <a:pt x="13290" y="12528"/>
                    <a:pt x="20900" y="11398"/>
                  </a:cubicBezTo>
                  <a:lnTo>
                    <a:pt x="20900" y="0"/>
                  </a:lnTo>
                  <a:close/>
                </a:path>
              </a:pathLst>
            </a:custGeom>
            <a:solidFill>
              <a:srgbClr val="D7DE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52C3FDA0-0DB0-41FE-9FFC-0002998FEFD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88" y="6350"/>
              <a:ext cx="8051800" cy="6845300"/>
            </a:xfrm>
            <a:custGeom>
              <a:avLst/>
              <a:gdLst>
                <a:gd name="T0" fmla="*/ 44836 w 44836"/>
                <a:gd name="T1" fmla="*/ 38100 h 38100"/>
                <a:gd name="T2" fmla="*/ 24804 w 44836"/>
                <a:gd name="T3" fmla="*/ 0 h 38100"/>
                <a:gd name="T4" fmla="*/ 0 w 44836"/>
                <a:gd name="T5" fmla="*/ 0 h 38100"/>
                <a:gd name="T6" fmla="*/ 0 w 44836"/>
                <a:gd name="T7" fmla="*/ 38100 h 38100"/>
                <a:gd name="T8" fmla="*/ 44836 w 44836"/>
                <a:gd name="T9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836" h="38100">
                  <a:moveTo>
                    <a:pt x="44836" y="38100"/>
                  </a:moveTo>
                  <a:cubicBezTo>
                    <a:pt x="40120" y="24025"/>
                    <a:pt x="33286" y="11245"/>
                    <a:pt x="24804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44836" y="38100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9828000" cy="936000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Väliotsikkosivu, yksi sana tai 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436334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213C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0" name="Kuvan paikkamerkki 19">
            <a:extLst>
              <a:ext uri="{FF2B5EF4-FFF2-40B4-BE49-F238E27FC236}">
                <a16:creationId xmlns:a16="http://schemas.microsoft.com/office/drawing/2014/main" id="{8DB9BFF2-C31A-4614-8C44-870E61EDC78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1824046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rakennus, mies, katettu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29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496223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3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tuulimylly, ulko, näkymä, aut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08704" cy="6858000"/>
          </a:xfrm>
          <a:prstGeom prst="rect">
            <a:avLst/>
          </a:prstGeom>
        </p:spPr>
      </p:pic>
      <p:grpSp>
        <p:nvGrpSpPr>
          <p:cNvPr id="26" name="Ryhmä 25">
            <a:extLst>
              <a:ext uri="{FF2B5EF4-FFF2-40B4-BE49-F238E27FC236}">
                <a16:creationId xmlns:a16="http://schemas.microsoft.com/office/drawing/2014/main" id="{F799DD09-7730-4542-89B9-54881FBB577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8756990" cy="6858000"/>
            <a:chOff x="1725613" y="6350"/>
            <a:chExt cx="8740775" cy="6845301"/>
          </a:xfrm>
        </p:grpSpPr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B9F0F0-2539-458B-AAF7-535BE5D78F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6350"/>
              <a:ext cx="8740775" cy="6845300"/>
            </a:xfrm>
            <a:custGeom>
              <a:avLst/>
              <a:gdLst>
                <a:gd name="T0" fmla="*/ 0 w 48666"/>
                <a:gd name="T1" fmla="*/ 38100 h 38100"/>
                <a:gd name="T2" fmla="*/ 48666 w 48666"/>
                <a:gd name="T3" fmla="*/ 38100 h 38100"/>
                <a:gd name="T4" fmla="*/ 46174 w 48666"/>
                <a:gd name="T5" fmla="*/ 29774 h 38100"/>
                <a:gd name="T6" fmla="*/ 46174 w 48666"/>
                <a:gd name="T7" fmla="*/ 29774 h 38100"/>
                <a:gd name="T8" fmla="*/ 48657 w 48666"/>
                <a:gd name="T9" fmla="*/ 0 h 38100"/>
                <a:gd name="T10" fmla="*/ 0 w 48666"/>
                <a:gd name="T11" fmla="*/ 0 h 38100"/>
                <a:gd name="T12" fmla="*/ 0 w 48666"/>
                <a:gd name="T13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66" h="38100">
                  <a:moveTo>
                    <a:pt x="0" y="38100"/>
                  </a:moveTo>
                  <a:lnTo>
                    <a:pt x="48666" y="38100"/>
                  </a:lnTo>
                  <a:cubicBezTo>
                    <a:pt x="47620" y="35440"/>
                    <a:pt x="46781" y="32661"/>
                    <a:pt x="46174" y="29774"/>
                  </a:cubicBezTo>
                  <a:lnTo>
                    <a:pt x="46174" y="29774"/>
                  </a:lnTo>
                  <a:cubicBezTo>
                    <a:pt x="44128" y="20120"/>
                    <a:pt x="44799" y="9795"/>
                    <a:pt x="48657" y="0"/>
                  </a:cubicBezTo>
                  <a:lnTo>
                    <a:pt x="0" y="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C38B15FE-EB78-49DB-9C78-8EDF68976B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25613" y="5081588"/>
              <a:ext cx="5503863" cy="1770063"/>
            </a:xfrm>
            <a:custGeom>
              <a:avLst/>
              <a:gdLst>
                <a:gd name="T0" fmla="*/ 30648 w 30648"/>
                <a:gd name="T1" fmla="*/ 9848 h 9848"/>
                <a:gd name="T2" fmla="*/ 0 w 30648"/>
                <a:gd name="T3" fmla="*/ 0 h 9848"/>
                <a:gd name="T4" fmla="*/ 0 w 30648"/>
                <a:gd name="T5" fmla="*/ 9848 h 9848"/>
                <a:gd name="T6" fmla="*/ 30648 w 30648"/>
                <a:gd name="T7" fmla="*/ 9848 h 98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48" h="9848">
                  <a:moveTo>
                    <a:pt x="30648" y="9848"/>
                  </a:moveTo>
                  <a:cubicBezTo>
                    <a:pt x="20769" y="5269"/>
                    <a:pt x="10471" y="1994"/>
                    <a:pt x="0" y="0"/>
                  </a:cubicBezTo>
                  <a:lnTo>
                    <a:pt x="0" y="9848"/>
                  </a:lnTo>
                  <a:lnTo>
                    <a:pt x="30648" y="984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7C376E3-2ABB-974B-9114-E2184E099A4F}"/>
              </a:ext>
            </a:extLst>
          </p:cNvPr>
          <p:cNvSpPr txBox="1"/>
          <p:nvPr userDrawn="1"/>
        </p:nvSpPr>
        <p:spPr>
          <a:xfrm>
            <a:off x="5405163" y="476672"/>
            <a:ext cx="453650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FI" dirty="0">
                <a:solidFill>
                  <a:schemeClr val="bg1"/>
                </a:solidFill>
              </a:rPr>
              <a:t>Tämä kuva pois, tilalle kuvalaatikko</a:t>
            </a:r>
          </a:p>
        </p:txBody>
      </p:sp>
    </p:spTree>
    <p:extLst>
      <p:ext uri="{BB962C8B-B14F-4D97-AF65-F5344CB8AC3E}">
        <p14:creationId xmlns:p14="http://schemas.microsoft.com/office/powerpoint/2010/main" val="20120380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pöytä, istuminen, kirjoituspöytä, tietokone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765" y="0"/>
            <a:ext cx="4122000" cy="6858000"/>
          </a:xfrm>
          <a:prstGeom prst="rect">
            <a:avLst/>
          </a:prstGeom>
        </p:spPr>
      </p:pic>
      <p:sp>
        <p:nvSpPr>
          <p:cNvPr id="25" name="Freeform 11">
            <a:extLst>
              <a:ext uri="{FF2B5EF4-FFF2-40B4-BE49-F238E27FC236}">
                <a16:creationId xmlns:a16="http://schemas.microsoft.com/office/drawing/2014/main" id="{C38B15FE-EB78-49DB-9C78-8EDF68976B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41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Kuvallinen väliotsikkosivu </a:t>
            </a:r>
            <a:br>
              <a:rPr lang="fi-FI" dirty="0"/>
            </a:br>
            <a:r>
              <a:rPr lang="fi-FI" dirty="0"/>
              <a:t>esityksen jäsentämiseen, </a:t>
            </a:r>
            <a:br>
              <a:rPr lang="fi-FI" dirty="0"/>
            </a:br>
            <a:r>
              <a:rPr lang="fi-FI" dirty="0"/>
              <a:t>3 riviä tekstiä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351880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san ylätunniste kuv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>
            <a:extLst>
              <a:ext uri="{FF2B5EF4-FFF2-40B4-BE49-F238E27FC236}">
                <a16:creationId xmlns:a16="http://schemas.microsoft.com/office/drawing/2014/main" id="{A9699318-17A8-4406-8545-15EC6D0D763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/>
          </p:cNvSpPr>
          <p:nvPr userDrawn="1"/>
        </p:nvSpPr>
        <p:spPr bwMode="gray">
          <a:xfrm>
            <a:off x="0" y="5084653"/>
            <a:ext cx="5514073" cy="1773347"/>
          </a:xfrm>
          <a:custGeom>
            <a:avLst/>
            <a:gdLst>
              <a:gd name="T0" fmla="*/ 30648 w 30648"/>
              <a:gd name="T1" fmla="*/ 9848 h 9848"/>
              <a:gd name="T2" fmla="*/ 0 w 30648"/>
              <a:gd name="T3" fmla="*/ 0 h 9848"/>
              <a:gd name="T4" fmla="*/ 0 w 30648"/>
              <a:gd name="T5" fmla="*/ 9848 h 9848"/>
              <a:gd name="T6" fmla="*/ 30648 w 30648"/>
              <a:gd name="T7" fmla="*/ 9848 h 98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0648" h="9848">
                <a:moveTo>
                  <a:pt x="30648" y="9848"/>
                </a:moveTo>
                <a:cubicBezTo>
                  <a:pt x="20769" y="5269"/>
                  <a:pt x="10471" y="1994"/>
                  <a:pt x="0" y="0"/>
                </a:cubicBezTo>
                <a:lnTo>
                  <a:pt x="0" y="9848"/>
                </a:lnTo>
                <a:lnTo>
                  <a:pt x="30648" y="9848"/>
                </a:lnTo>
                <a:close/>
              </a:path>
            </a:pathLst>
          </a:custGeom>
          <a:solidFill>
            <a:srgbClr val="E1E6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2196246"/>
            <a:ext cx="6428358" cy="1952053"/>
          </a:xfrm>
        </p:spPr>
        <p:txBody>
          <a:bodyPr anchor="t" anchorCtr="0"/>
          <a:lstStyle>
            <a:lvl1pPr>
              <a:defRPr sz="5600">
                <a:solidFill>
                  <a:schemeClr val="tx2"/>
                </a:solidFill>
              </a:defRPr>
            </a:lvl1pPr>
          </a:lstStyle>
          <a:p>
            <a:r>
              <a:rPr lang="fi-FI" dirty="0"/>
              <a:t>Yksi tekstirivi</a:t>
            </a:r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1" name="Kuvan paikkamerkki 19">
            <a:extLst>
              <a:ext uri="{FF2B5EF4-FFF2-40B4-BE49-F238E27FC236}">
                <a16:creationId xmlns:a16="http://schemas.microsoft.com/office/drawing/2014/main" id="{C20D1C9F-02E1-4C00-846A-9CC67CA2EDE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4120748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paikka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sp>
        <p:nvSpPr>
          <p:cNvPr id="17" name="Kuvan paikkamerkki 19">
            <a:extLst>
              <a:ext uri="{FF2B5EF4-FFF2-40B4-BE49-F238E27FC236}">
                <a16:creationId xmlns:a16="http://schemas.microsoft.com/office/drawing/2014/main" id="{79A4B3D4-F743-4ABE-BF43-A842D73C48B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04820" y="0"/>
            <a:ext cx="4087180" cy="6858000"/>
          </a:xfrm>
          <a:custGeom>
            <a:avLst/>
            <a:gdLst>
              <a:gd name="connsiteX0" fmla="*/ 0 w 3431705"/>
              <a:gd name="connsiteY0" fmla="*/ 0 h 6858000"/>
              <a:gd name="connsiteX1" fmla="*/ 3431705 w 3431705"/>
              <a:gd name="connsiteY1" fmla="*/ 0 h 6858000"/>
              <a:gd name="connsiteX2" fmla="*/ 3431705 w 3431705"/>
              <a:gd name="connsiteY2" fmla="*/ 6858000 h 6858000"/>
              <a:gd name="connsiteX3" fmla="*/ 0 w 3431705"/>
              <a:gd name="connsiteY3" fmla="*/ 6858000 h 6858000"/>
              <a:gd name="connsiteX4" fmla="*/ 0 w 3431705"/>
              <a:gd name="connsiteY4" fmla="*/ 0 h 6858000"/>
              <a:gd name="connsiteX0" fmla="*/ 3157 w 3434862"/>
              <a:gd name="connsiteY0" fmla="*/ 0 h 6858000"/>
              <a:gd name="connsiteX1" fmla="*/ 3434862 w 3434862"/>
              <a:gd name="connsiteY1" fmla="*/ 0 h 6858000"/>
              <a:gd name="connsiteX2" fmla="*/ 3434862 w 3434862"/>
              <a:gd name="connsiteY2" fmla="*/ 6858000 h 6858000"/>
              <a:gd name="connsiteX3" fmla="*/ 3157 w 3434862"/>
              <a:gd name="connsiteY3" fmla="*/ 6858000 h 6858000"/>
              <a:gd name="connsiteX4" fmla="*/ 0 w 3434862"/>
              <a:gd name="connsiteY4" fmla="*/ 3124200 h 6858000"/>
              <a:gd name="connsiteX5" fmla="*/ 3157 w 3434862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671373 w 4103078"/>
              <a:gd name="connsiteY0" fmla="*/ 0 h 6858000"/>
              <a:gd name="connsiteX1" fmla="*/ 4103078 w 4103078"/>
              <a:gd name="connsiteY1" fmla="*/ 0 h 6858000"/>
              <a:gd name="connsiteX2" fmla="*/ 4103078 w 4103078"/>
              <a:gd name="connsiteY2" fmla="*/ 6858000 h 6858000"/>
              <a:gd name="connsiteX3" fmla="*/ 671373 w 4103078"/>
              <a:gd name="connsiteY3" fmla="*/ 6858000 h 6858000"/>
              <a:gd name="connsiteX4" fmla="*/ 0 w 4103078"/>
              <a:gd name="connsiteY4" fmla="*/ 3528646 h 6858000"/>
              <a:gd name="connsiteX5" fmla="*/ 671373 w 4103078"/>
              <a:gd name="connsiteY5" fmla="*/ 0 h 6858000"/>
              <a:gd name="connsiteX0" fmla="*/ 758837 w 4190542"/>
              <a:gd name="connsiteY0" fmla="*/ 0 h 6858000"/>
              <a:gd name="connsiteX1" fmla="*/ 4190542 w 4190542"/>
              <a:gd name="connsiteY1" fmla="*/ 0 h 6858000"/>
              <a:gd name="connsiteX2" fmla="*/ 4190542 w 4190542"/>
              <a:gd name="connsiteY2" fmla="*/ 6858000 h 6858000"/>
              <a:gd name="connsiteX3" fmla="*/ 758837 w 4190542"/>
              <a:gd name="connsiteY3" fmla="*/ 6858000 h 6858000"/>
              <a:gd name="connsiteX4" fmla="*/ 0 w 4190542"/>
              <a:gd name="connsiteY4" fmla="*/ 3548525 h 6858000"/>
              <a:gd name="connsiteX5" fmla="*/ 758837 w 4190542"/>
              <a:gd name="connsiteY5" fmla="*/ 0 h 6858000"/>
              <a:gd name="connsiteX0" fmla="*/ 647519 w 4079224"/>
              <a:gd name="connsiteY0" fmla="*/ 0 h 6858000"/>
              <a:gd name="connsiteX1" fmla="*/ 4079224 w 4079224"/>
              <a:gd name="connsiteY1" fmla="*/ 0 h 6858000"/>
              <a:gd name="connsiteX2" fmla="*/ 4079224 w 4079224"/>
              <a:gd name="connsiteY2" fmla="*/ 6858000 h 6858000"/>
              <a:gd name="connsiteX3" fmla="*/ 647519 w 4079224"/>
              <a:gd name="connsiteY3" fmla="*/ 6858000 h 6858000"/>
              <a:gd name="connsiteX4" fmla="*/ 0 w 4079224"/>
              <a:gd name="connsiteY4" fmla="*/ 3528647 h 6858000"/>
              <a:gd name="connsiteX5" fmla="*/ 647519 w 4079224"/>
              <a:gd name="connsiteY5" fmla="*/ 0 h 6858000"/>
              <a:gd name="connsiteX0" fmla="*/ 648002 w 4079707"/>
              <a:gd name="connsiteY0" fmla="*/ 0 h 6858000"/>
              <a:gd name="connsiteX1" fmla="*/ 4079707 w 4079707"/>
              <a:gd name="connsiteY1" fmla="*/ 0 h 6858000"/>
              <a:gd name="connsiteX2" fmla="*/ 4079707 w 4079707"/>
              <a:gd name="connsiteY2" fmla="*/ 6858000 h 6858000"/>
              <a:gd name="connsiteX3" fmla="*/ 648002 w 4079707"/>
              <a:gd name="connsiteY3" fmla="*/ 6858000 h 6858000"/>
              <a:gd name="connsiteX4" fmla="*/ 483 w 4079707"/>
              <a:gd name="connsiteY4" fmla="*/ 3528647 h 6858000"/>
              <a:gd name="connsiteX5" fmla="*/ 648002 w 4079707"/>
              <a:gd name="connsiteY5" fmla="*/ 0 h 6858000"/>
              <a:gd name="connsiteX0" fmla="*/ 647524 w 4079229"/>
              <a:gd name="connsiteY0" fmla="*/ 0 h 6858000"/>
              <a:gd name="connsiteX1" fmla="*/ 4079229 w 4079229"/>
              <a:gd name="connsiteY1" fmla="*/ 0 h 6858000"/>
              <a:gd name="connsiteX2" fmla="*/ 4079229 w 4079229"/>
              <a:gd name="connsiteY2" fmla="*/ 6858000 h 6858000"/>
              <a:gd name="connsiteX3" fmla="*/ 647524 w 4079229"/>
              <a:gd name="connsiteY3" fmla="*/ 6858000 h 6858000"/>
              <a:gd name="connsiteX4" fmla="*/ 5 w 4079229"/>
              <a:gd name="connsiteY4" fmla="*/ 3528647 h 6858000"/>
              <a:gd name="connsiteX5" fmla="*/ 647524 w 4079229"/>
              <a:gd name="connsiteY5" fmla="*/ 0 h 6858000"/>
              <a:gd name="connsiteX0" fmla="*/ 655474 w 4087179"/>
              <a:gd name="connsiteY0" fmla="*/ 0 h 6858000"/>
              <a:gd name="connsiteX1" fmla="*/ 4087179 w 4087179"/>
              <a:gd name="connsiteY1" fmla="*/ 0 h 6858000"/>
              <a:gd name="connsiteX2" fmla="*/ 4087179 w 4087179"/>
              <a:gd name="connsiteY2" fmla="*/ 6858000 h 6858000"/>
              <a:gd name="connsiteX3" fmla="*/ 655474 w 4087179"/>
              <a:gd name="connsiteY3" fmla="*/ 6858000 h 6858000"/>
              <a:gd name="connsiteX4" fmla="*/ 4 w 4087179"/>
              <a:gd name="connsiteY4" fmla="*/ 3405402 h 6858000"/>
              <a:gd name="connsiteX5" fmla="*/ 655474 w 4087179"/>
              <a:gd name="connsiteY5" fmla="*/ 0 h 6858000"/>
              <a:gd name="connsiteX0" fmla="*/ 655836 w 4087541"/>
              <a:gd name="connsiteY0" fmla="*/ 0 h 6858000"/>
              <a:gd name="connsiteX1" fmla="*/ 4087541 w 4087541"/>
              <a:gd name="connsiteY1" fmla="*/ 0 h 6858000"/>
              <a:gd name="connsiteX2" fmla="*/ 4087541 w 4087541"/>
              <a:gd name="connsiteY2" fmla="*/ 6858000 h 6858000"/>
              <a:gd name="connsiteX3" fmla="*/ 655836 w 4087541"/>
              <a:gd name="connsiteY3" fmla="*/ 6858000 h 6858000"/>
              <a:gd name="connsiteX4" fmla="*/ 366 w 4087541"/>
              <a:gd name="connsiteY4" fmla="*/ 3405402 h 6858000"/>
              <a:gd name="connsiteX5" fmla="*/ 655836 w 4087541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  <a:gd name="connsiteX0" fmla="*/ 655475 w 4087180"/>
              <a:gd name="connsiteY0" fmla="*/ 0 h 6858000"/>
              <a:gd name="connsiteX1" fmla="*/ 4087180 w 4087180"/>
              <a:gd name="connsiteY1" fmla="*/ 0 h 6858000"/>
              <a:gd name="connsiteX2" fmla="*/ 4087180 w 4087180"/>
              <a:gd name="connsiteY2" fmla="*/ 6858000 h 6858000"/>
              <a:gd name="connsiteX3" fmla="*/ 655475 w 4087180"/>
              <a:gd name="connsiteY3" fmla="*/ 6858000 h 6858000"/>
              <a:gd name="connsiteX4" fmla="*/ 5 w 4087180"/>
              <a:gd name="connsiteY4" fmla="*/ 3405402 h 6858000"/>
              <a:gd name="connsiteX5" fmla="*/ 655475 w 408718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87180" h="6858000">
                <a:moveTo>
                  <a:pt x="655475" y="0"/>
                </a:moveTo>
                <a:lnTo>
                  <a:pt x="4087180" y="0"/>
                </a:lnTo>
                <a:lnTo>
                  <a:pt x="4087180" y="6858000"/>
                </a:lnTo>
                <a:lnTo>
                  <a:pt x="655475" y="6858000"/>
                </a:lnTo>
                <a:cubicBezTo>
                  <a:pt x="198241" y="5579539"/>
                  <a:pt x="-1047" y="4538242"/>
                  <a:pt x="5" y="3405402"/>
                </a:cubicBezTo>
                <a:cubicBezTo>
                  <a:pt x="1057" y="2272562"/>
                  <a:pt x="220670" y="994916"/>
                  <a:pt x="65547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846935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 1">
    <p:bg>
      <p:bgPr>
        <a:solidFill>
          <a:srgbClr val="365A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Kuva 27" descr="Kuva, joka sisältää kohteen lumi, piiri, hiihtäminen, kello">
            <a:extLst>
              <a:ext uri="{FF2B5EF4-FFF2-40B4-BE49-F238E27FC236}">
                <a16:creationId xmlns:a16="http://schemas.microsoft.com/office/drawing/2014/main" id="{0C894645-360E-4B0E-B056-721914725C19}"/>
              </a:ext>
              <a:ext uri="{C183D7F6-B498-43B3-948B-1728B52AA6E4}">
                <adec:decorative xmlns:adec="http://schemas.microsoft.com/office/drawing/2017/decorative" xmlns="" val="0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4730" y="0"/>
            <a:ext cx="4108704" cy="6858000"/>
          </a:xfrm>
          <a:prstGeom prst="rect">
            <a:avLst/>
          </a:prstGeom>
        </p:spPr>
      </p:pic>
      <p:sp>
        <p:nvSpPr>
          <p:cNvPr id="24" name="Freeform 10">
            <a:extLst>
              <a:ext uri="{FF2B5EF4-FFF2-40B4-BE49-F238E27FC236}">
                <a16:creationId xmlns:a16="http://schemas.microsoft.com/office/drawing/2014/main" id="{E5B9F0F0-2539-458B-AAF7-535BE5D78F43}"/>
              </a:ext>
            </a:extLst>
          </p:cNvPr>
          <p:cNvSpPr>
            <a:spLocks/>
          </p:cNvSpPr>
          <p:nvPr userDrawn="1"/>
        </p:nvSpPr>
        <p:spPr bwMode="gray">
          <a:xfrm>
            <a:off x="0" y="0"/>
            <a:ext cx="8756990" cy="6857999"/>
          </a:xfrm>
          <a:custGeom>
            <a:avLst/>
            <a:gdLst>
              <a:gd name="T0" fmla="*/ 0 w 48666"/>
              <a:gd name="T1" fmla="*/ 38100 h 38100"/>
              <a:gd name="T2" fmla="*/ 48666 w 48666"/>
              <a:gd name="T3" fmla="*/ 38100 h 38100"/>
              <a:gd name="T4" fmla="*/ 46174 w 48666"/>
              <a:gd name="T5" fmla="*/ 29774 h 38100"/>
              <a:gd name="T6" fmla="*/ 46174 w 48666"/>
              <a:gd name="T7" fmla="*/ 29774 h 38100"/>
              <a:gd name="T8" fmla="*/ 48657 w 48666"/>
              <a:gd name="T9" fmla="*/ 0 h 38100"/>
              <a:gd name="T10" fmla="*/ 0 w 48666"/>
              <a:gd name="T11" fmla="*/ 0 h 38100"/>
              <a:gd name="T12" fmla="*/ 0 w 48666"/>
              <a:gd name="T13" fmla="*/ 38100 h 38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8666" h="38100">
                <a:moveTo>
                  <a:pt x="0" y="38100"/>
                </a:moveTo>
                <a:lnTo>
                  <a:pt x="48666" y="38100"/>
                </a:lnTo>
                <a:cubicBezTo>
                  <a:pt x="47620" y="35440"/>
                  <a:pt x="46781" y="32661"/>
                  <a:pt x="46174" y="29774"/>
                </a:cubicBezTo>
                <a:lnTo>
                  <a:pt x="46174" y="29774"/>
                </a:lnTo>
                <a:cubicBezTo>
                  <a:pt x="44128" y="20120"/>
                  <a:pt x="44799" y="9795"/>
                  <a:pt x="48657" y="0"/>
                </a:cubicBezTo>
                <a:lnTo>
                  <a:pt x="0" y="0"/>
                </a:lnTo>
                <a:lnTo>
                  <a:pt x="0" y="38100"/>
                </a:lnTo>
                <a:close/>
              </a:path>
            </a:pathLst>
          </a:custGeom>
          <a:solidFill>
            <a:srgbClr val="365A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819770" y="2276873"/>
            <a:ext cx="6860406" cy="182268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Sitaattivälisivu – esitykseen </a:t>
            </a:r>
            <a:br>
              <a:rPr lang="fi-FI" dirty="0"/>
            </a:br>
            <a:r>
              <a:rPr lang="fi-FI" dirty="0"/>
              <a:t>voi nostaa sisältöön sopivia lauseita tai sanontoja, 3 riviä tekstiä</a:t>
            </a: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F719A860-795B-428F-80F9-D6F9FDADB42D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9770" y="4246881"/>
            <a:ext cx="6860555" cy="62228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300">
                <a:solidFill>
                  <a:schemeClr val="bg1"/>
                </a:solidFill>
              </a:defRPr>
            </a:lvl1pPr>
            <a:lvl2pPr marL="360363" indent="0">
              <a:buNone/>
              <a:defRPr/>
            </a:lvl2pPr>
          </a:lstStyle>
          <a:p>
            <a:pPr lvl="0"/>
            <a:r>
              <a:rPr lang="fi-FI" dirty="0"/>
              <a:t>Sitaatin esittäjän nimi tai lähde </a:t>
            </a:r>
          </a:p>
        </p:txBody>
      </p:sp>
      <p:grpSp>
        <p:nvGrpSpPr>
          <p:cNvPr id="14" name="Ryhmä 13">
            <a:extLst>
              <a:ext uri="{FF2B5EF4-FFF2-40B4-BE49-F238E27FC236}">
                <a16:creationId xmlns:a16="http://schemas.microsoft.com/office/drawing/2014/main" id="{9A6D78D3-4FC0-42A7-9715-18AAAB12760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 userDrawn="1"/>
        </p:nvGrpSpPr>
        <p:grpSpPr bwMode="gray">
          <a:xfrm>
            <a:off x="257177" y="1270"/>
            <a:ext cx="2267584" cy="1890186"/>
            <a:chOff x="206376" y="-19050"/>
            <a:chExt cx="4511675" cy="3760788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268701B8-B376-43FE-B7F2-878080FDF0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06376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A7BFF58C-823E-4991-AC39-EEE807FFA1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36838" y="-19050"/>
              <a:ext cx="2081213" cy="3760788"/>
            </a:xfrm>
            <a:custGeom>
              <a:avLst/>
              <a:gdLst>
                <a:gd name="T0" fmla="*/ 5775 w 5775"/>
                <a:gd name="T1" fmla="*/ 0 h 10440"/>
                <a:gd name="T2" fmla="*/ 60 w 5775"/>
                <a:gd name="T3" fmla="*/ 0 h 10440"/>
                <a:gd name="T4" fmla="*/ 60 w 5775"/>
                <a:gd name="T5" fmla="*/ 4939 h 10440"/>
                <a:gd name="T6" fmla="*/ 2799 w 5775"/>
                <a:gd name="T7" fmla="*/ 4939 h 10440"/>
                <a:gd name="T8" fmla="*/ 0 w 5775"/>
                <a:gd name="T9" fmla="*/ 7977 h 10440"/>
                <a:gd name="T10" fmla="*/ 1310 w 5775"/>
                <a:gd name="T11" fmla="*/ 10440 h 10440"/>
                <a:gd name="T12" fmla="*/ 5775 w 5775"/>
                <a:gd name="T13" fmla="*/ 4939 h 10440"/>
                <a:gd name="T14" fmla="*/ 5775 w 5775"/>
                <a:gd name="T15" fmla="*/ 0 h 10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75" h="10440">
                  <a:moveTo>
                    <a:pt x="5775" y="0"/>
                  </a:moveTo>
                  <a:lnTo>
                    <a:pt x="60" y="0"/>
                  </a:lnTo>
                  <a:lnTo>
                    <a:pt x="60" y="4939"/>
                  </a:lnTo>
                  <a:lnTo>
                    <a:pt x="2799" y="4939"/>
                  </a:lnTo>
                  <a:cubicBezTo>
                    <a:pt x="2690" y="6434"/>
                    <a:pt x="1640" y="7398"/>
                    <a:pt x="0" y="7977"/>
                  </a:cubicBezTo>
                  <a:lnTo>
                    <a:pt x="1310" y="10440"/>
                  </a:lnTo>
                  <a:cubicBezTo>
                    <a:pt x="3916" y="9363"/>
                    <a:pt x="5684" y="7549"/>
                    <a:pt x="5775" y="4939"/>
                  </a:cubicBezTo>
                  <a:lnTo>
                    <a:pt x="5775" y="0"/>
                  </a:lnTo>
                  <a:close/>
                </a:path>
              </a:pathLst>
            </a:custGeom>
            <a:solidFill>
              <a:srgbClr val="7C94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239E982F-E5C4-4750-B82A-0622B3AA7839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9AF1C7D1-8DB2-411A-8933-F5D3A01ADF9D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120643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Ryhmä 16">
            <a:extLst>
              <a:ext uri="{FF2B5EF4-FFF2-40B4-BE49-F238E27FC236}">
                <a16:creationId xmlns:a16="http://schemas.microsoft.com/office/drawing/2014/main" id="{743A037A-3296-40C2-9074-84427B0EB2B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0" y="0"/>
            <a:ext cx="6756211" cy="6858000"/>
            <a:chOff x="2724150" y="6350"/>
            <a:chExt cx="6743700" cy="68453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89334710-4573-413A-9371-58D53E96403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6350"/>
              <a:ext cx="6743700" cy="6845300"/>
            </a:xfrm>
            <a:custGeom>
              <a:avLst/>
              <a:gdLst>
                <a:gd name="T0" fmla="*/ 37531 w 37531"/>
                <a:gd name="T1" fmla="*/ 38100 h 38100"/>
                <a:gd name="T2" fmla="*/ 35005 w 37531"/>
                <a:gd name="T3" fmla="*/ 29739 h 38100"/>
                <a:gd name="T4" fmla="*/ 37500 w 37531"/>
                <a:gd name="T5" fmla="*/ 0 h 38100"/>
                <a:gd name="T6" fmla="*/ 0 w 37531"/>
                <a:gd name="T7" fmla="*/ 0 h 38100"/>
                <a:gd name="T8" fmla="*/ 0 w 37531"/>
                <a:gd name="T9" fmla="*/ 38100 h 38100"/>
                <a:gd name="T10" fmla="*/ 37531 w 37531"/>
                <a:gd name="T11" fmla="*/ 38100 h 38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531" h="38100">
                  <a:moveTo>
                    <a:pt x="37531" y="38100"/>
                  </a:moveTo>
                  <a:cubicBezTo>
                    <a:pt x="36473" y="35432"/>
                    <a:pt x="35622" y="32640"/>
                    <a:pt x="35005" y="29739"/>
                  </a:cubicBezTo>
                  <a:cubicBezTo>
                    <a:pt x="32947" y="20093"/>
                    <a:pt x="33623" y="9779"/>
                    <a:pt x="37500" y="0"/>
                  </a:cubicBezTo>
                  <a:lnTo>
                    <a:pt x="0" y="0"/>
                  </a:lnTo>
                  <a:lnTo>
                    <a:pt x="0" y="38100"/>
                  </a:lnTo>
                  <a:lnTo>
                    <a:pt x="37531" y="38100"/>
                  </a:lnTo>
                  <a:close/>
                </a:path>
              </a:pathLst>
            </a:custGeom>
            <a:solidFill>
              <a:srgbClr val="365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025CC1E-66FA-4412-98F7-D19894F2D9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724150" y="4011613"/>
              <a:ext cx="6443663" cy="2840038"/>
            </a:xfrm>
            <a:custGeom>
              <a:avLst/>
              <a:gdLst>
                <a:gd name="T0" fmla="*/ 35867 w 35867"/>
                <a:gd name="T1" fmla="*/ 15808 h 15808"/>
                <a:gd name="T2" fmla="*/ 0 w 35867"/>
                <a:gd name="T3" fmla="*/ 0 h 15808"/>
                <a:gd name="T4" fmla="*/ 0 w 35867"/>
                <a:gd name="T5" fmla="*/ 15808 h 15808"/>
                <a:gd name="T6" fmla="*/ 35867 w 35867"/>
                <a:gd name="T7" fmla="*/ 15808 h 15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5867" h="15808">
                  <a:moveTo>
                    <a:pt x="35867" y="15808"/>
                  </a:moveTo>
                  <a:cubicBezTo>
                    <a:pt x="24829" y="8026"/>
                    <a:pt x="12618" y="2772"/>
                    <a:pt x="0" y="0"/>
                  </a:cubicBezTo>
                  <a:lnTo>
                    <a:pt x="0" y="15808"/>
                  </a:lnTo>
                  <a:lnTo>
                    <a:pt x="35867" y="15808"/>
                  </a:lnTo>
                  <a:close/>
                </a:path>
              </a:pathLst>
            </a:custGeom>
            <a:solidFill>
              <a:srgbClr val="213C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Otsikko 1">
            <a:extLst>
              <a:ext uri="{FF2B5EF4-FFF2-40B4-BE49-F238E27FC236}">
                <a16:creationId xmlns:a16="http://schemas.microsoft.com/office/drawing/2014/main" id="{AA898E02-03EA-44E2-B2D3-D9317405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819770" y="1404939"/>
            <a:ext cx="4916190" cy="1808037"/>
          </a:xfrm>
        </p:spPr>
        <p:txBody>
          <a:bodyPr anchor="t" anchorCtr="0"/>
          <a:lstStyle>
            <a:lvl1pPr>
              <a:defRPr sz="370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Asianostosivu </a:t>
            </a:r>
            <a:br>
              <a:rPr lang="fi-FI" dirty="0"/>
            </a:br>
            <a:r>
              <a:rPr lang="fi-FI" dirty="0"/>
              <a:t>esityksen jäsentämiseen, 3 rivin otsikko</a:t>
            </a:r>
          </a:p>
        </p:txBody>
      </p:sp>
      <p:sp>
        <p:nvSpPr>
          <p:cNvPr id="23" name="Tekstin paikkamerkki 22">
            <a:extLst>
              <a:ext uri="{FF2B5EF4-FFF2-40B4-BE49-F238E27FC236}">
                <a16:creationId xmlns:a16="http://schemas.microsoft.com/office/drawing/2014/main" id="{C91B202D-FB5A-4250-8735-81C439C51C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53880" y="1514325"/>
            <a:ext cx="4658744" cy="4248000"/>
          </a:xfrm>
        </p:spPr>
        <p:txBody>
          <a:bodyPr/>
          <a:lstStyle>
            <a:lvl1pPr marL="269875" indent="-269875">
              <a:lnSpc>
                <a:spcPct val="95000"/>
              </a:lnSpc>
              <a:defRPr sz="2200"/>
            </a:lvl1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20" name="Alatunnisteen paikkamerkki 19">
            <a:extLst>
              <a:ext uri="{FF2B5EF4-FFF2-40B4-BE49-F238E27FC236}">
                <a16:creationId xmlns:a16="http://schemas.microsoft.com/office/drawing/2014/main" id="{38A531D9-3794-4382-A4CC-D062827D8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algn="l"/>
            <a:r>
              <a:rPr lang="fi-FI"/>
              <a:t>Aihe/otsikkoteksti Arial Regular lorem ipsum dolores</a:t>
            </a:r>
            <a:endParaRPr lang="fi-FI" dirty="0"/>
          </a:p>
        </p:txBody>
      </p:sp>
      <p:sp>
        <p:nvSpPr>
          <p:cNvPr id="21" name="Dian numeron paikkamerkki 20">
            <a:extLst>
              <a:ext uri="{FF2B5EF4-FFF2-40B4-BE49-F238E27FC236}">
                <a16:creationId xmlns:a16="http://schemas.microsoft.com/office/drawing/2014/main" id="{E9C40528-505B-4E57-81CB-FA8E7278B7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33320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vmlDrawing" Target="../drawings/vmlDrawing2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vmlDrawing" Target="../drawings/vmlDrawing3.vml"/><Relationship Id="rId30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4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vmlDrawing" Target="../drawings/vmlDrawing4.v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ags" Target="../tags/tag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vmlDrawing" Target="../drawings/vmlDrawing5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010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88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3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164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10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030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04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355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56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  <p:sldLayoutId id="2147483756" r:id="rId17"/>
    <p:sldLayoutId id="2147483757" r:id="rId18"/>
    <p:sldLayoutId id="2147483758" r:id="rId19"/>
    <p:sldLayoutId id="2147483759" r:id="rId20"/>
    <p:sldLayoutId id="2147483760" r:id="rId21"/>
    <p:sldLayoutId id="2147483761" r:id="rId22"/>
    <p:sldLayoutId id="2147483762" r:id="rId23"/>
    <p:sldLayoutId id="2147483763" r:id="rId24"/>
    <p:sldLayoutId id="214748376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3">
          <p15:clr>
            <a:srgbClr val="F26B43"/>
          </p15:clr>
        </p15:guide>
        <p15:guide id="4" pos="7151">
          <p15:clr>
            <a:srgbClr val="F26B43"/>
          </p15:clr>
        </p15:guide>
        <p15:guide id="5" orient="horz" pos="164">
          <p15:clr>
            <a:srgbClr val="F26B43"/>
          </p15:clr>
        </p15:guide>
        <p15:guide id="6" orient="horz" pos="3793">
          <p15:clr>
            <a:srgbClr val="F26B43"/>
          </p15:clr>
        </p15:guide>
        <p15:guide id="7" orient="horz" pos="1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964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961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  <p:sldLayoutId id="2147483828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EEE6FA2-90B9-464A-9666-68D91F2B8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31" name="think-cell Slide" r:id="rId29" imgW="473" imgH="473" progId="TCLayout.ActiveDocument.1">
                  <p:embed/>
                </p:oleObj>
              </mc:Choice>
              <mc:Fallback>
                <p:oleObj name="think-cell Slide" r:id="rId29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EEE6FA2-90B9-464A-9666-68D91F2B8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DB813CEF-66CE-41A6-9589-6FF5AB7466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3255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D603C59-5B66-4F64-93F3-1F4DFBEE6E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2320" y="1762761"/>
            <a:ext cx="10571480" cy="42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noProof="0" dirty="0"/>
              <a:t>Muokkaa tekstin perustyylejä napsauttamalla</a:t>
            </a:r>
          </a:p>
          <a:p>
            <a:pPr lvl="1"/>
            <a:r>
              <a:rPr lang="fi-FI" noProof="0" dirty="0"/>
              <a:t>toinen taso</a:t>
            </a:r>
          </a:p>
          <a:p>
            <a:pPr lvl="2"/>
            <a:r>
              <a:rPr lang="fi-FI" noProof="0" dirty="0"/>
              <a:t>kolmas taso</a:t>
            </a:r>
          </a:p>
          <a:p>
            <a:pPr lvl="3"/>
            <a:r>
              <a:rPr lang="fi-FI" noProof="0" dirty="0"/>
              <a:t>neljäs taso</a:t>
            </a:r>
          </a:p>
          <a:p>
            <a:pPr lvl="4"/>
            <a:r>
              <a:rPr lang="fi-FI" noProof="0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D131FDA-8F15-4702-ABF9-690082056A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44920" y="6453336"/>
            <a:ext cx="1009328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fi-FI" noProof="0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6B6AA8B-3D61-4AA5-84FF-FE178AE4F2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68400" y="6453336"/>
            <a:ext cx="411480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pPr algn="l"/>
            <a:r>
              <a:rPr lang="fi-FI" dirty="0"/>
              <a:t>Aihe/otsikkoteksti </a:t>
            </a:r>
            <a:r>
              <a:rPr lang="fi-FI" dirty="0" err="1"/>
              <a:t>Arial</a:t>
            </a:r>
            <a:r>
              <a:rPr lang="fi-FI" dirty="0"/>
              <a:t> </a:t>
            </a:r>
            <a:r>
              <a:rPr lang="fi-FI" dirty="0" err="1"/>
              <a:t>Regular</a:t>
            </a:r>
            <a:r>
              <a:rPr lang="fi-FI" dirty="0"/>
              <a:t> </a:t>
            </a:r>
            <a:r>
              <a:rPr lang="fi-FI" dirty="0" err="1"/>
              <a:t>lorem</a:t>
            </a:r>
            <a:r>
              <a:rPr lang="fi-FI" dirty="0"/>
              <a:t> </a:t>
            </a:r>
            <a:r>
              <a:rPr lang="fi-FI" dirty="0" err="1"/>
              <a:t>ipsum</a:t>
            </a:r>
            <a:r>
              <a:rPr lang="fi-FI" dirty="0"/>
              <a:t> </a:t>
            </a:r>
            <a:r>
              <a:rPr lang="fi-FI" dirty="0" err="1"/>
              <a:t>dolores</a:t>
            </a:r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8D84F219-5BCC-4F1C-B213-2C1F4342BE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1200" y="6453336"/>
            <a:ext cx="366880" cy="228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4BCCB783-365B-40E8-A1C9-91A9348041A5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74FCF417-30B6-4F05-9607-5A03685BD2C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3272" y="6142062"/>
            <a:ext cx="1947891" cy="63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885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715963" indent="-355600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0363" algn="l" defTabSz="914400" rtl="0" eaLnBrk="1" latinLnBrk="0" hangingPunct="1">
        <a:lnSpc>
          <a:spcPct val="9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793875" indent="-355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‒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1.xml"/><Relationship Id="rId4" Type="http://schemas.openxmlformats.org/officeDocument/2006/relationships/tags" Target="../tags/tag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3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_#/files/Yleinen?threadId=19%3A77b90626a2f14c63ac8e5ed625df502a%40thread.tacv2&amp;ctx=channel&amp;context=General&amp;rootfolder=%252Fsites%252FTeknonvknraporttiluonnoksenkommentointi%252FShared%2520Documents%252FGenera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TNVK </a:t>
            </a:r>
            <a:r>
              <a:rPr lang="fi-FI" dirty="0" smtClean="0"/>
              <a:t>17.5.2021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2026920" y="4984955"/>
            <a:ext cx="8641080" cy="702528"/>
          </a:xfrm>
        </p:spPr>
        <p:txBody>
          <a:bodyPr/>
          <a:lstStyle/>
          <a:p>
            <a:r>
              <a:rPr lang="fi-FI" sz="2400" dirty="0" smtClean="0"/>
              <a:t>Ennakkomateriaali</a:t>
            </a:r>
            <a:endParaRPr lang="fi-FI" sz="2400" dirty="0"/>
          </a:p>
        </p:txBody>
      </p:sp>
    </p:spTree>
    <p:extLst>
      <p:ext uri="{BB962C8B-B14F-4D97-AF65-F5344CB8AC3E}">
        <p14:creationId xmlns:p14="http://schemas.microsoft.com/office/powerpoint/2010/main" val="24118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D06440D3-3E19-43C3-8E0F-2604137A4E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2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D06440D3-3E19-43C3-8E0F-2604137A4E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A2EC003-946E-4C15-8F79-2BF995C2F1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8D06A9BA-0595-4042-8DF5-70EF6FB04E33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112302-77FB-498F-BFCF-784313ECDB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51" y="570639"/>
            <a:ext cx="10571480" cy="1325563"/>
          </a:xfrm>
        </p:spPr>
        <p:txBody>
          <a:bodyPr vert="horz"/>
          <a:lstStyle/>
          <a:p>
            <a:r>
              <a:rPr lang="fi-FI" dirty="0"/>
              <a:t>Teknologiapolitiikan OKR –malli Suomel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E9B1F8-B521-4ABE-AF62-1EC963B1991E}"/>
              </a:ext>
            </a:extLst>
          </p:cNvPr>
          <p:cNvSpPr/>
          <p:nvPr/>
        </p:nvSpPr>
        <p:spPr>
          <a:xfrm>
            <a:off x="2522937" y="1631563"/>
            <a:ext cx="7322415" cy="584775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Times New Roman" panose="02020603050405020304" pitchFamily="18" charset="0"/>
              </a:rPr>
              <a:t>Suomi on vuonna 2030 maailman menestyksellisin ja tunnetuin teknologi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Times New Roman" panose="02020603050405020304" pitchFamily="18" charset="0"/>
              </a:rPr>
              <a:t>kehittämisestä ja hyödyntämisestä hyvinvointia ammentava maa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472101D-0B1A-49C8-B2FD-369FE1BDD15B}"/>
              </a:ext>
            </a:extLst>
          </p:cNvPr>
          <p:cNvSpPr/>
          <p:nvPr/>
        </p:nvSpPr>
        <p:spPr>
          <a:xfrm>
            <a:off x="782320" y="3517215"/>
            <a:ext cx="14751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voitteet (O)</a:t>
            </a:r>
          </a:p>
          <a:p>
            <a:pPr marL="32400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kp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3F100E-C1EA-41C8-ABC6-3166B749A95B}"/>
              </a:ext>
            </a:extLst>
          </p:cNvPr>
          <p:cNvSpPr/>
          <p:nvPr/>
        </p:nvSpPr>
        <p:spPr>
          <a:xfrm>
            <a:off x="782320" y="4976544"/>
            <a:ext cx="16656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aintulokset (KR)</a:t>
            </a:r>
          </a:p>
          <a:p>
            <a:pPr marL="32400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-6 kpl/tavoite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66E349AB-7842-4E46-9935-5F5D2D80DAEE}"/>
              </a:ext>
            </a:extLst>
          </p:cNvPr>
          <p:cNvCxnSpPr>
            <a:cxnSpLocks/>
            <a:stCxn id="3" idx="2"/>
            <a:endCxn id="7" idx="0"/>
          </p:cNvCxnSpPr>
          <p:nvPr/>
        </p:nvCxnSpPr>
        <p:spPr>
          <a:xfrm rot="5400000">
            <a:off x="4526453" y="1082942"/>
            <a:ext cx="524296" cy="279108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F91D808D-CD9B-4B6B-995A-EB99B160BEF0}"/>
              </a:ext>
            </a:extLst>
          </p:cNvPr>
          <p:cNvSpPr/>
          <p:nvPr/>
        </p:nvSpPr>
        <p:spPr>
          <a:xfrm>
            <a:off x="2522574" y="2740634"/>
            <a:ext cx="1740964" cy="198404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i on maailman kilpailukykyisimpiä valtioita ja maailman paras paikka teknologiayrityksille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45431E-52A9-4309-BA25-4ED3FC8D06BE}"/>
              </a:ext>
            </a:extLst>
          </p:cNvPr>
          <p:cNvSpPr/>
          <p:nvPr/>
        </p:nvSpPr>
        <p:spPr>
          <a:xfrm>
            <a:off x="4400607" y="2740634"/>
            <a:ext cx="1740964" cy="198404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essa on maailman tunnetuimpia ja houkuttelevimpia teknologia-alan koulutuksen, tutkimuksen, osaajien ja investointien keskuksia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4E72E59-807D-4D65-B6CE-8FB0C24BC27F}"/>
              </a:ext>
            </a:extLst>
          </p:cNvPr>
          <p:cNvSpPr/>
          <p:nvPr/>
        </p:nvSpPr>
        <p:spPr>
          <a:xfrm>
            <a:off x="6278640" y="2740634"/>
            <a:ext cx="1740964" cy="1984048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essa on maailman tehokkain julkinen sektori, joka mahdollistaa ihmisten ja yritysten hyvinvoinnin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A9A585-4F25-459A-84FA-A20F757A7681}"/>
              </a:ext>
            </a:extLst>
          </p:cNvPr>
          <p:cNvSpPr/>
          <p:nvPr/>
        </p:nvSpPr>
        <p:spPr>
          <a:xfrm>
            <a:off x="8156673" y="2740633"/>
            <a:ext cx="1740964" cy="198404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omi hyötyy laajalti  globaaleihin haasteisiin vastaavien teknologioiden rohkeasta kehittämisestä ja soveltamisesta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E020156B-AFC1-4377-8CFF-61AB67FE10B8}"/>
              </a:ext>
            </a:extLst>
          </p:cNvPr>
          <p:cNvCxnSpPr>
            <a:cxnSpLocks/>
            <a:stCxn id="3" idx="2"/>
            <a:endCxn id="9" idx="0"/>
          </p:cNvCxnSpPr>
          <p:nvPr/>
        </p:nvCxnSpPr>
        <p:spPr>
          <a:xfrm rot="16200000" flipH="1">
            <a:off x="6404485" y="1995997"/>
            <a:ext cx="524296" cy="96497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E79A36C1-B0D5-4E9D-B263-5C463C8E044F}"/>
              </a:ext>
            </a:extLst>
          </p:cNvPr>
          <p:cNvCxnSpPr>
            <a:cxnSpLocks/>
            <a:stCxn id="3" idx="2"/>
            <a:endCxn id="8" idx="0"/>
          </p:cNvCxnSpPr>
          <p:nvPr/>
        </p:nvCxnSpPr>
        <p:spPr>
          <a:xfrm rot="5400000">
            <a:off x="5465469" y="2021958"/>
            <a:ext cx="524296" cy="91305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B7FA4EA0-713E-4B43-9D2C-4BCA2C348C35}"/>
              </a:ext>
            </a:extLst>
          </p:cNvPr>
          <p:cNvCxnSpPr>
            <a:cxnSpLocks/>
            <a:stCxn id="3" idx="2"/>
            <a:endCxn id="10" idx="0"/>
          </p:cNvCxnSpPr>
          <p:nvPr/>
        </p:nvCxnSpPr>
        <p:spPr>
          <a:xfrm rot="16200000" flipH="1">
            <a:off x="7343503" y="1056980"/>
            <a:ext cx="524295" cy="284301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Oval 20">
            <a:extLst>
              <a:ext uri="{FF2B5EF4-FFF2-40B4-BE49-F238E27FC236}">
                <a16:creationId xmlns:a16="http://schemas.microsoft.com/office/drawing/2014/main" id="{525C3112-9442-408B-88D0-25A64134843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55058" y="2647207"/>
            <a:ext cx="306911" cy="306911"/>
          </a:xfrm>
          <a:prstGeom prst="ellipse">
            <a:avLst/>
          </a:prstGeom>
          <a:solidFill>
            <a:schemeClr val="bg2">
              <a:lumMod val="5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23" name="Oval 20">
            <a:extLst>
              <a:ext uri="{FF2B5EF4-FFF2-40B4-BE49-F238E27FC236}">
                <a16:creationId xmlns:a16="http://schemas.microsoft.com/office/drawing/2014/main" id="{80EA7511-21B6-4826-A9E0-F3ECF7EF4C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83794" y="2647207"/>
            <a:ext cx="306911" cy="306911"/>
          </a:xfrm>
          <a:prstGeom prst="ellipse">
            <a:avLst/>
          </a:prstGeom>
          <a:solidFill>
            <a:schemeClr val="tx2">
              <a:lumMod val="5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24" name="Oval 20">
            <a:extLst>
              <a:ext uri="{FF2B5EF4-FFF2-40B4-BE49-F238E27FC236}">
                <a16:creationId xmlns:a16="http://schemas.microsoft.com/office/drawing/2014/main" id="{0D164DEC-AD13-42B1-A32E-1863715FF38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12530" y="2647207"/>
            <a:ext cx="306911" cy="306911"/>
          </a:xfrm>
          <a:prstGeom prst="ellipse">
            <a:avLst/>
          </a:prstGeom>
          <a:solidFill>
            <a:schemeClr val="tx2">
              <a:lumMod val="75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5" name="Oval 20">
            <a:extLst>
              <a:ext uri="{FF2B5EF4-FFF2-40B4-BE49-F238E27FC236}">
                <a16:creationId xmlns:a16="http://schemas.microsoft.com/office/drawing/2014/main" id="{14604642-DD51-4064-AD03-646664F59AB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441266" y="2647207"/>
            <a:ext cx="306911" cy="306911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D23E224-F0CC-427E-858F-BBEA2605A1F2}"/>
              </a:ext>
            </a:extLst>
          </p:cNvPr>
          <p:cNvSpPr/>
          <p:nvPr/>
        </p:nvSpPr>
        <p:spPr>
          <a:xfrm>
            <a:off x="1003470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9A2F6FD-3DF8-4CA5-A0CE-D85A5E15D852}"/>
              </a:ext>
            </a:extLst>
          </p:cNvPr>
          <p:cNvSpPr/>
          <p:nvPr/>
        </p:nvSpPr>
        <p:spPr>
          <a:xfrm>
            <a:off x="8156673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01A786D-7CC4-48C7-9DCC-0BCE28811816}"/>
              </a:ext>
            </a:extLst>
          </p:cNvPr>
          <p:cNvSpPr/>
          <p:nvPr/>
        </p:nvSpPr>
        <p:spPr>
          <a:xfrm>
            <a:off x="8626671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52F9BBC-B7C0-40D0-BE6C-9DFF300AF388}"/>
              </a:ext>
            </a:extLst>
          </p:cNvPr>
          <p:cNvSpPr/>
          <p:nvPr/>
        </p:nvSpPr>
        <p:spPr>
          <a:xfrm>
            <a:off x="9096670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FF4A354-828A-46C6-940D-40D8A52CCF60}"/>
              </a:ext>
            </a:extLst>
          </p:cNvPr>
          <p:cNvSpPr/>
          <p:nvPr/>
        </p:nvSpPr>
        <p:spPr>
          <a:xfrm>
            <a:off x="9566662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AEB516D-E6B1-4E14-81D6-6261A706D6C8}"/>
              </a:ext>
            </a:extLst>
          </p:cNvPr>
          <p:cNvCxnSpPr>
            <a:cxnSpLocks/>
          </p:cNvCxnSpPr>
          <p:nvPr/>
        </p:nvCxnSpPr>
        <p:spPr>
          <a:xfrm rot="5400000">
            <a:off x="8545967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76B8CC4B-80E4-441D-803F-0F40C0BBDA2C}"/>
              </a:ext>
            </a:extLst>
          </p:cNvPr>
          <p:cNvCxnSpPr>
            <a:cxnSpLocks/>
          </p:cNvCxnSpPr>
          <p:nvPr/>
        </p:nvCxnSpPr>
        <p:spPr>
          <a:xfrm rot="5400000">
            <a:off x="8780959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2" name="Connector: Elbow 101">
            <a:extLst>
              <a:ext uri="{FF2B5EF4-FFF2-40B4-BE49-F238E27FC236}">
                <a16:creationId xmlns:a16="http://schemas.microsoft.com/office/drawing/2014/main" id="{B5BE6F45-CC6F-4C0E-9A9B-2C4855584DA8}"/>
              </a:ext>
            </a:extLst>
          </p:cNvPr>
          <p:cNvCxnSpPr>
            <a:cxnSpLocks/>
          </p:cNvCxnSpPr>
          <p:nvPr/>
        </p:nvCxnSpPr>
        <p:spPr>
          <a:xfrm rot="16200000" flipH="1">
            <a:off x="9250947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4B0D94CB-4C46-4A25-89AE-9DCD0DE1FA51}"/>
              </a:ext>
            </a:extLst>
          </p:cNvPr>
          <p:cNvCxnSpPr>
            <a:cxnSpLocks/>
          </p:cNvCxnSpPr>
          <p:nvPr/>
        </p:nvCxnSpPr>
        <p:spPr>
          <a:xfrm rot="16200000" flipH="1">
            <a:off x="9015950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A7D03F64-E595-4F1B-9745-2832764573B6}"/>
              </a:ext>
            </a:extLst>
          </p:cNvPr>
          <p:cNvSpPr/>
          <p:nvPr/>
        </p:nvSpPr>
        <p:spPr>
          <a:xfrm>
            <a:off x="2522574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050166B-AC64-4584-98E6-C8EA14C35D24}"/>
              </a:ext>
            </a:extLst>
          </p:cNvPr>
          <p:cNvSpPr/>
          <p:nvPr/>
        </p:nvSpPr>
        <p:spPr>
          <a:xfrm>
            <a:off x="2992572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3BE344A-D1B3-4284-A280-073429DA443A}"/>
              </a:ext>
            </a:extLst>
          </p:cNvPr>
          <p:cNvSpPr/>
          <p:nvPr/>
        </p:nvSpPr>
        <p:spPr>
          <a:xfrm>
            <a:off x="3462571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EB340CB8-F310-4C0C-A407-19ACD814FDE9}"/>
              </a:ext>
            </a:extLst>
          </p:cNvPr>
          <p:cNvSpPr/>
          <p:nvPr/>
        </p:nvSpPr>
        <p:spPr>
          <a:xfrm>
            <a:off x="3932563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520BA9C5-0733-402F-B21F-BE8B769E68A5}"/>
              </a:ext>
            </a:extLst>
          </p:cNvPr>
          <p:cNvCxnSpPr>
            <a:cxnSpLocks/>
          </p:cNvCxnSpPr>
          <p:nvPr/>
        </p:nvCxnSpPr>
        <p:spPr>
          <a:xfrm rot="5400000">
            <a:off x="2911868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C38D27FD-A7A1-41B1-9DD9-37D4B5255515}"/>
              </a:ext>
            </a:extLst>
          </p:cNvPr>
          <p:cNvCxnSpPr>
            <a:cxnSpLocks/>
          </p:cNvCxnSpPr>
          <p:nvPr/>
        </p:nvCxnSpPr>
        <p:spPr>
          <a:xfrm rot="5400000">
            <a:off x="3146860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96FB131-2304-4245-BD65-82E571301057}"/>
              </a:ext>
            </a:extLst>
          </p:cNvPr>
          <p:cNvCxnSpPr>
            <a:cxnSpLocks/>
          </p:cNvCxnSpPr>
          <p:nvPr/>
        </p:nvCxnSpPr>
        <p:spPr>
          <a:xfrm rot="16200000" flipH="1">
            <a:off x="3616848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F2AEED46-AF76-4520-BD94-0C1AC79DBADC}"/>
              </a:ext>
            </a:extLst>
          </p:cNvPr>
          <p:cNvCxnSpPr>
            <a:cxnSpLocks/>
          </p:cNvCxnSpPr>
          <p:nvPr/>
        </p:nvCxnSpPr>
        <p:spPr>
          <a:xfrm rot="16200000" flipH="1">
            <a:off x="3381851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4" name="Rectangle 113">
            <a:extLst>
              <a:ext uri="{FF2B5EF4-FFF2-40B4-BE49-F238E27FC236}">
                <a16:creationId xmlns:a16="http://schemas.microsoft.com/office/drawing/2014/main" id="{BBBAF820-B75F-4B0E-92C3-2AF1F898D0A2}"/>
              </a:ext>
            </a:extLst>
          </p:cNvPr>
          <p:cNvSpPr/>
          <p:nvPr/>
        </p:nvSpPr>
        <p:spPr>
          <a:xfrm>
            <a:off x="440060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2BEE2DD-3860-4C70-97CD-8EF6DAED6C2D}"/>
              </a:ext>
            </a:extLst>
          </p:cNvPr>
          <p:cNvSpPr/>
          <p:nvPr/>
        </p:nvSpPr>
        <p:spPr>
          <a:xfrm>
            <a:off x="4870605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26455792-30AD-468F-A3A4-5E678A11C3AC}"/>
              </a:ext>
            </a:extLst>
          </p:cNvPr>
          <p:cNvSpPr/>
          <p:nvPr/>
        </p:nvSpPr>
        <p:spPr>
          <a:xfrm>
            <a:off x="5340604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CAC26BCC-2CEB-41F6-A144-6B7E61C4DFC1}"/>
              </a:ext>
            </a:extLst>
          </p:cNvPr>
          <p:cNvSpPr/>
          <p:nvPr/>
        </p:nvSpPr>
        <p:spPr>
          <a:xfrm>
            <a:off x="5810596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16762D64-C8E0-4EBD-8AA2-1323586BB488}"/>
              </a:ext>
            </a:extLst>
          </p:cNvPr>
          <p:cNvCxnSpPr>
            <a:cxnSpLocks/>
          </p:cNvCxnSpPr>
          <p:nvPr/>
        </p:nvCxnSpPr>
        <p:spPr>
          <a:xfrm rot="5400000">
            <a:off x="4789901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9" name="Connector: Elbow 118">
            <a:extLst>
              <a:ext uri="{FF2B5EF4-FFF2-40B4-BE49-F238E27FC236}">
                <a16:creationId xmlns:a16="http://schemas.microsoft.com/office/drawing/2014/main" id="{A00303B8-D1CB-4E5D-BF96-4446D9DFB356}"/>
              </a:ext>
            </a:extLst>
          </p:cNvPr>
          <p:cNvCxnSpPr>
            <a:cxnSpLocks/>
          </p:cNvCxnSpPr>
          <p:nvPr/>
        </p:nvCxnSpPr>
        <p:spPr>
          <a:xfrm rot="5400000">
            <a:off x="5024893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32E8C039-A4FE-47F9-8079-150B93E9C718}"/>
              </a:ext>
            </a:extLst>
          </p:cNvPr>
          <p:cNvCxnSpPr>
            <a:cxnSpLocks/>
          </p:cNvCxnSpPr>
          <p:nvPr/>
        </p:nvCxnSpPr>
        <p:spPr>
          <a:xfrm rot="16200000" flipH="1">
            <a:off x="5494881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1" name="Connector: Elbow 120">
            <a:extLst>
              <a:ext uri="{FF2B5EF4-FFF2-40B4-BE49-F238E27FC236}">
                <a16:creationId xmlns:a16="http://schemas.microsoft.com/office/drawing/2014/main" id="{AC3A494A-43E0-4C69-BCB7-29E5A92AEFA3}"/>
              </a:ext>
            </a:extLst>
          </p:cNvPr>
          <p:cNvCxnSpPr>
            <a:cxnSpLocks/>
          </p:cNvCxnSpPr>
          <p:nvPr/>
        </p:nvCxnSpPr>
        <p:spPr>
          <a:xfrm rot="16200000" flipH="1">
            <a:off x="5259884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5CE00C2-5FC5-4ECB-A8A2-23D4E9F49106}"/>
              </a:ext>
            </a:extLst>
          </p:cNvPr>
          <p:cNvSpPr/>
          <p:nvPr/>
        </p:nvSpPr>
        <p:spPr>
          <a:xfrm>
            <a:off x="6278640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1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308FA09-85A2-4132-8A95-03DEC98FA6D3}"/>
              </a:ext>
            </a:extLst>
          </p:cNvPr>
          <p:cNvSpPr/>
          <p:nvPr/>
        </p:nvSpPr>
        <p:spPr>
          <a:xfrm>
            <a:off x="6748638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2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497D525E-55AC-4DBA-85BD-E7FEC820AFC5}"/>
              </a:ext>
            </a:extLst>
          </p:cNvPr>
          <p:cNvSpPr/>
          <p:nvPr/>
        </p:nvSpPr>
        <p:spPr>
          <a:xfrm>
            <a:off x="7218637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3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B1AFC9EB-D103-43F7-A025-F022711D8D06}"/>
              </a:ext>
            </a:extLst>
          </p:cNvPr>
          <p:cNvSpPr/>
          <p:nvPr/>
        </p:nvSpPr>
        <p:spPr>
          <a:xfrm>
            <a:off x="7688629" y="4947517"/>
            <a:ext cx="330975" cy="488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91440" rIns="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4</a:t>
            </a:r>
          </a:p>
        </p:txBody>
      </p: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A17A2A11-7149-4288-BB71-BAAD9645A64E}"/>
              </a:ext>
            </a:extLst>
          </p:cNvPr>
          <p:cNvCxnSpPr>
            <a:cxnSpLocks/>
          </p:cNvCxnSpPr>
          <p:nvPr/>
        </p:nvCxnSpPr>
        <p:spPr>
          <a:xfrm rot="5400000">
            <a:off x="6667934" y="4498209"/>
            <a:ext cx="214325" cy="684291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100DCC7B-8AD8-4602-8CBD-F7734627EBC2}"/>
              </a:ext>
            </a:extLst>
          </p:cNvPr>
          <p:cNvCxnSpPr>
            <a:cxnSpLocks/>
          </p:cNvCxnSpPr>
          <p:nvPr/>
        </p:nvCxnSpPr>
        <p:spPr>
          <a:xfrm rot="5400000">
            <a:off x="6902926" y="4733212"/>
            <a:ext cx="214326" cy="214287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380DE3F3-49F7-4C9F-9E8A-1A8AB9F0A7E7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72914" y="4477498"/>
            <a:ext cx="214323" cy="72571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0" name="Connector: Elbow 129">
            <a:extLst>
              <a:ext uri="{FF2B5EF4-FFF2-40B4-BE49-F238E27FC236}">
                <a16:creationId xmlns:a16="http://schemas.microsoft.com/office/drawing/2014/main" id="{EA542755-B96D-4C97-B907-E1FA99CC549C}"/>
              </a:ext>
            </a:extLst>
          </p:cNvPr>
          <p:cNvCxnSpPr>
            <a:cxnSpLocks/>
          </p:cNvCxnSpPr>
          <p:nvPr/>
        </p:nvCxnSpPr>
        <p:spPr>
          <a:xfrm rot="16200000" flipH="1">
            <a:off x="7137917" y="4712495"/>
            <a:ext cx="214326" cy="255718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1" name="Rectangle 130">
            <a:extLst>
              <a:ext uri="{FF2B5EF4-FFF2-40B4-BE49-F238E27FC236}">
                <a16:creationId xmlns:a16="http://schemas.microsoft.com/office/drawing/2014/main" id="{36091495-544B-48D7-99B4-2D3B42D78C4C}"/>
              </a:ext>
            </a:extLst>
          </p:cNvPr>
          <p:cNvSpPr/>
          <p:nvPr/>
        </p:nvSpPr>
        <p:spPr>
          <a:xfrm>
            <a:off x="782320" y="5690480"/>
            <a:ext cx="16656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nakoivat mittarit</a:t>
            </a:r>
            <a:r>
              <a:rPr kumimoji="0" lang="en-US" sz="1400" b="0" i="0" u="none" strike="noStrike" kern="120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1" indent="-2160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 typeface="Trebuchet MS" panose="020B0603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10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-5 kpl/KR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723B777-E1A8-4DAD-801E-D51F5795E8F8}"/>
              </a:ext>
            </a:extLst>
          </p:cNvPr>
          <p:cNvSpPr/>
          <p:nvPr/>
        </p:nvSpPr>
        <p:spPr>
          <a:xfrm>
            <a:off x="2522574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38FB012-77FC-4AF8-9AAA-793009E7E8D9}"/>
              </a:ext>
            </a:extLst>
          </p:cNvPr>
          <p:cNvSpPr/>
          <p:nvPr/>
        </p:nvSpPr>
        <p:spPr>
          <a:xfrm>
            <a:off x="2730554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5AA60C4-F1C6-4873-BF53-913EA6924E8E}"/>
              </a:ext>
            </a:extLst>
          </p:cNvPr>
          <p:cNvSpPr/>
          <p:nvPr/>
        </p:nvSpPr>
        <p:spPr>
          <a:xfrm>
            <a:off x="299257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8F56283C-56E0-4DC7-B1A9-C9AA81A974B0}"/>
              </a:ext>
            </a:extLst>
          </p:cNvPr>
          <p:cNvSpPr/>
          <p:nvPr/>
        </p:nvSpPr>
        <p:spPr>
          <a:xfrm>
            <a:off x="320055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40FD43D-13B7-455F-9DF9-7D3800B2A45B}"/>
              </a:ext>
            </a:extLst>
          </p:cNvPr>
          <p:cNvSpPr/>
          <p:nvPr/>
        </p:nvSpPr>
        <p:spPr>
          <a:xfrm>
            <a:off x="393256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8DD8A01D-DFF1-4154-BD82-BA9E5FF3C30E}"/>
              </a:ext>
            </a:extLst>
          </p:cNvPr>
          <p:cNvCxnSpPr>
            <a:cxnSpLocks/>
            <a:stCxn id="105" idx="2"/>
            <a:endCxn id="143" idx="0"/>
          </p:cNvCxnSpPr>
          <p:nvPr/>
        </p:nvCxnSpPr>
        <p:spPr>
          <a:xfrm rot="5400000">
            <a:off x="2516115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84EBC0D8-0C37-4DCD-BDF9-D87CEF077C96}"/>
              </a:ext>
            </a:extLst>
          </p:cNvPr>
          <p:cNvCxnSpPr>
            <a:cxnSpLocks/>
            <a:stCxn id="105" idx="2"/>
            <a:endCxn id="84" idx="0"/>
          </p:cNvCxnSpPr>
          <p:nvPr/>
        </p:nvCxnSpPr>
        <p:spPr>
          <a:xfrm rot="16200000" flipH="1">
            <a:off x="2620105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34E5C6F0-1255-4421-AA40-FA2AF5911C62}"/>
              </a:ext>
            </a:extLst>
          </p:cNvPr>
          <p:cNvCxnSpPr>
            <a:cxnSpLocks/>
          </p:cNvCxnSpPr>
          <p:nvPr/>
        </p:nvCxnSpPr>
        <p:spPr>
          <a:xfrm rot="5400000">
            <a:off x="2991882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299E06CE-D125-4CED-A1B8-9B2C068990EB}"/>
              </a:ext>
            </a:extLst>
          </p:cNvPr>
          <p:cNvCxnSpPr>
            <a:cxnSpLocks/>
          </p:cNvCxnSpPr>
          <p:nvPr/>
        </p:nvCxnSpPr>
        <p:spPr>
          <a:xfrm rot="16200000" flipH="1">
            <a:off x="3095872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1D2EC7B8-AEBC-48E4-B965-B4A102C5B700}"/>
              </a:ext>
            </a:extLst>
          </p:cNvPr>
          <p:cNvCxnSpPr>
            <a:cxnSpLocks/>
          </p:cNvCxnSpPr>
          <p:nvPr/>
        </p:nvCxnSpPr>
        <p:spPr>
          <a:xfrm rot="5400000">
            <a:off x="3924284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1184F4C-32B7-440A-9B93-B2BCFA74F336}"/>
              </a:ext>
            </a:extLst>
          </p:cNvPr>
          <p:cNvSpPr/>
          <p:nvPr/>
        </p:nvSpPr>
        <p:spPr>
          <a:xfrm>
            <a:off x="440060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5C2F6EB-7A37-42C7-8226-3A6424029335}"/>
              </a:ext>
            </a:extLst>
          </p:cNvPr>
          <p:cNvSpPr/>
          <p:nvPr/>
        </p:nvSpPr>
        <p:spPr>
          <a:xfrm>
            <a:off x="460858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D908D486-8A03-413C-BF5B-42CE3D05CD00}"/>
              </a:ext>
            </a:extLst>
          </p:cNvPr>
          <p:cNvSpPr/>
          <p:nvPr/>
        </p:nvSpPr>
        <p:spPr>
          <a:xfrm>
            <a:off x="4870605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738AB287-43C2-48ED-A407-B8D8783D4DC9}"/>
              </a:ext>
            </a:extLst>
          </p:cNvPr>
          <p:cNvSpPr/>
          <p:nvPr/>
        </p:nvSpPr>
        <p:spPr>
          <a:xfrm>
            <a:off x="5078585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38F9C8D0-E71D-4EA6-9CC3-C9F7BCAF6B7A}"/>
              </a:ext>
            </a:extLst>
          </p:cNvPr>
          <p:cNvSpPr/>
          <p:nvPr/>
        </p:nvSpPr>
        <p:spPr>
          <a:xfrm>
            <a:off x="5810596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A8385B1E-F4F0-421F-AE17-BBB579F6D340}"/>
              </a:ext>
            </a:extLst>
          </p:cNvPr>
          <p:cNvCxnSpPr>
            <a:cxnSpLocks/>
            <a:endCxn id="135" idx="0"/>
          </p:cNvCxnSpPr>
          <p:nvPr/>
        </p:nvCxnSpPr>
        <p:spPr>
          <a:xfrm rot="5400000">
            <a:off x="439414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1" name="Connector: Elbow 140">
            <a:extLst>
              <a:ext uri="{FF2B5EF4-FFF2-40B4-BE49-F238E27FC236}">
                <a16:creationId xmlns:a16="http://schemas.microsoft.com/office/drawing/2014/main" id="{50DCD61C-EA0A-4B3A-95D0-60FE17090B2D}"/>
              </a:ext>
            </a:extLst>
          </p:cNvPr>
          <p:cNvCxnSpPr>
            <a:cxnSpLocks/>
            <a:endCxn id="136" idx="0"/>
          </p:cNvCxnSpPr>
          <p:nvPr/>
        </p:nvCxnSpPr>
        <p:spPr>
          <a:xfrm rot="16200000" flipH="1">
            <a:off x="449813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2" name="Connector: Elbow 141">
            <a:extLst>
              <a:ext uri="{FF2B5EF4-FFF2-40B4-BE49-F238E27FC236}">
                <a16:creationId xmlns:a16="http://schemas.microsoft.com/office/drawing/2014/main" id="{0BD44995-C5F1-4B60-B3B2-AF0C3531B553}"/>
              </a:ext>
            </a:extLst>
          </p:cNvPr>
          <p:cNvCxnSpPr>
            <a:cxnSpLocks/>
          </p:cNvCxnSpPr>
          <p:nvPr/>
        </p:nvCxnSpPr>
        <p:spPr>
          <a:xfrm rot="5400000">
            <a:off x="4869915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FA21F240-7AEE-41B2-A490-D91E1BAE8B07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73905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7C97D976-B730-4280-905F-84001A67AA09}"/>
              </a:ext>
            </a:extLst>
          </p:cNvPr>
          <p:cNvCxnSpPr>
            <a:cxnSpLocks/>
          </p:cNvCxnSpPr>
          <p:nvPr/>
        </p:nvCxnSpPr>
        <p:spPr>
          <a:xfrm rot="5400000">
            <a:off x="5802317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1" name="Rectangle 160">
            <a:extLst>
              <a:ext uri="{FF2B5EF4-FFF2-40B4-BE49-F238E27FC236}">
                <a16:creationId xmlns:a16="http://schemas.microsoft.com/office/drawing/2014/main" id="{354635D2-1344-4044-AB56-3C59AF4B03F3}"/>
              </a:ext>
            </a:extLst>
          </p:cNvPr>
          <p:cNvSpPr/>
          <p:nvPr/>
        </p:nvSpPr>
        <p:spPr>
          <a:xfrm>
            <a:off x="6278640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7493F90D-BE0C-4BFD-B785-1DB5E739CE67}"/>
              </a:ext>
            </a:extLst>
          </p:cNvPr>
          <p:cNvSpPr/>
          <p:nvPr/>
        </p:nvSpPr>
        <p:spPr>
          <a:xfrm>
            <a:off x="6486620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1050401C-66F9-4903-BD91-E735F2178AD8}"/>
              </a:ext>
            </a:extLst>
          </p:cNvPr>
          <p:cNvSpPr/>
          <p:nvPr/>
        </p:nvSpPr>
        <p:spPr>
          <a:xfrm>
            <a:off x="6748638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E173B7D1-504A-466F-8A59-CFEE90E64645}"/>
              </a:ext>
            </a:extLst>
          </p:cNvPr>
          <p:cNvSpPr/>
          <p:nvPr/>
        </p:nvSpPr>
        <p:spPr>
          <a:xfrm>
            <a:off x="6956618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BE728746-249C-488C-95F4-57248F54F0A9}"/>
              </a:ext>
            </a:extLst>
          </p:cNvPr>
          <p:cNvSpPr/>
          <p:nvPr/>
        </p:nvSpPr>
        <p:spPr>
          <a:xfrm>
            <a:off x="7688629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7" name="Connector: Elbow 166">
            <a:extLst>
              <a:ext uri="{FF2B5EF4-FFF2-40B4-BE49-F238E27FC236}">
                <a16:creationId xmlns:a16="http://schemas.microsoft.com/office/drawing/2014/main" id="{5264C4E7-8CDE-4965-8176-55D406A228C6}"/>
              </a:ext>
            </a:extLst>
          </p:cNvPr>
          <p:cNvCxnSpPr>
            <a:cxnSpLocks/>
            <a:endCxn id="161" idx="0"/>
          </p:cNvCxnSpPr>
          <p:nvPr/>
        </p:nvCxnSpPr>
        <p:spPr>
          <a:xfrm rot="5400000">
            <a:off x="6272181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8" name="Connector: Elbow 167">
            <a:extLst>
              <a:ext uri="{FF2B5EF4-FFF2-40B4-BE49-F238E27FC236}">
                <a16:creationId xmlns:a16="http://schemas.microsoft.com/office/drawing/2014/main" id="{92D3763F-1100-487D-A443-D51BE24C5973}"/>
              </a:ext>
            </a:extLst>
          </p:cNvPr>
          <p:cNvCxnSpPr>
            <a:cxnSpLocks/>
            <a:endCxn id="163" idx="0"/>
          </p:cNvCxnSpPr>
          <p:nvPr/>
        </p:nvCxnSpPr>
        <p:spPr>
          <a:xfrm rot="16200000" flipH="1">
            <a:off x="6376171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09EBEDB1-15CA-4B75-8A29-F6660A590D1D}"/>
              </a:ext>
            </a:extLst>
          </p:cNvPr>
          <p:cNvCxnSpPr>
            <a:cxnSpLocks/>
          </p:cNvCxnSpPr>
          <p:nvPr/>
        </p:nvCxnSpPr>
        <p:spPr>
          <a:xfrm rot="5400000">
            <a:off x="6747948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73EA3E69-CC58-4E55-891D-F3304614725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851938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1" name="Connector: Elbow 170">
            <a:extLst>
              <a:ext uri="{FF2B5EF4-FFF2-40B4-BE49-F238E27FC236}">
                <a16:creationId xmlns:a16="http://schemas.microsoft.com/office/drawing/2014/main" id="{DA18033C-1D78-486C-B228-069DE50FF712}"/>
              </a:ext>
            </a:extLst>
          </p:cNvPr>
          <p:cNvCxnSpPr>
            <a:cxnSpLocks/>
          </p:cNvCxnSpPr>
          <p:nvPr/>
        </p:nvCxnSpPr>
        <p:spPr>
          <a:xfrm rot="5400000">
            <a:off x="7680350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03D60763-D520-48D7-8685-2978C2E886FE}"/>
              </a:ext>
            </a:extLst>
          </p:cNvPr>
          <p:cNvSpPr/>
          <p:nvPr/>
        </p:nvSpPr>
        <p:spPr>
          <a:xfrm>
            <a:off x="10034707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A106BEA8-3C1A-4776-BB77-AE6E0446CBDE}"/>
              </a:ext>
            </a:extLst>
          </p:cNvPr>
          <p:cNvCxnSpPr>
            <a:cxnSpLocks/>
            <a:endCxn id="173" idx="0"/>
          </p:cNvCxnSpPr>
          <p:nvPr/>
        </p:nvCxnSpPr>
        <p:spPr>
          <a:xfrm rot="5400000">
            <a:off x="10028248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4" name="Rectangle 183">
            <a:extLst>
              <a:ext uri="{FF2B5EF4-FFF2-40B4-BE49-F238E27FC236}">
                <a16:creationId xmlns:a16="http://schemas.microsoft.com/office/drawing/2014/main" id="{074ECF44-2AAD-4D2B-A354-DD18A9635CC9}"/>
              </a:ext>
            </a:extLst>
          </p:cNvPr>
          <p:cNvSpPr/>
          <p:nvPr/>
        </p:nvSpPr>
        <p:spPr>
          <a:xfrm>
            <a:off x="815667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78D65D32-3F83-417D-8513-39B8CDA4B0A7}"/>
              </a:ext>
            </a:extLst>
          </p:cNvPr>
          <p:cNvSpPr/>
          <p:nvPr/>
        </p:nvSpPr>
        <p:spPr>
          <a:xfrm>
            <a:off x="8364653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10EE16B7-30CE-4ABE-BE7B-6FCB5F8F338C}"/>
              </a:ext>
            </a:extLst>
          </p:cNvPr>
          <p:cNvSpPr/>
          <p:nvPr/>
        </p:nvSpPr>
        <p:spPr>
          <a:xfrm>
            <a:off x="8626671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21486F9F-52E9-4E07-AEAB-8476D1E8CCCE}"/>
              </a:ext>
            </a:extLst>
          </p:cNvPr>
          <p:cNvSpPr/>
          <p:nvPr/>
        </p:nvSpPr>
        <p:spPr>
          <a:xfrm>
            <a:off x="8834651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2CE1513-284C-4BF5-B7E1-3BC2187D8A3E}"/>
              </a:ext>
            </a:extLst>
          </p:cNvPr>
          <p:cNvSpPr/>
          <p:nvPr/>
        </p:nvSpPr>
        <p:spPr>
          <a:xfrm>
            <a:off x="9566662" y="5676363"/>
            <a:ext cx="122995" cy="488941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EAD9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10800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5ABD">
                  <a:lumMod val="100000"/>
                </a:srgbClr>
              </a:buClr>
              <a:buSzPct val="100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100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89" name="Connector: Elbow 188">
            <a:extLst>
              <a:ext uri="{FF2B5EF4-FFF2-40B4-BE49-F238E27FC236}">
                <a16:creationId xmlns:a16="http://schemas.microsoft.com/office/drawing/2014/main" id="{F5B97F93-7040-40C9-8AB4-B6E443812EB6}"/>
              </a:ext>
            </a:extLst>
          </p:cNvPr>
          <p:cNvCxnSpPr>
            <a:cxnSpLocks/>
            <a:endCxn id="184" idx="0"/>
          </p:cNvCxnSpPr>
          <p:nvPr/>
        </p:nvCxnSpPr>
        <p:spPr>
          <a:xfrm rot="5400000">
            <a:off x="8150214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5878FFCA-767F-4602-BA94-0C7127BC0314}"/>
              </a:ext>
            </a:extLst>
          </p:cNvPr>
          <p:cNvCxnSpPr>
            <a:cxnSpLocks/>
            <a:endCxn id="185" idx="0"/>
          </p:cNvCxnSpPr>
          <p:nvPr/>
        </p:nvCxnSpPr>
        <p:spPr>
          <a:xfrm rot="16200000" flipH="1">
            <a:off x="8254204" y="5504415"/>
            <a:ext cx="239905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1" name="Connector: Elbow 190">
            <a:extLst>
              <a:ext uri="{FF2B5EF4-FFF2-40B4-BE49-F238E27FC236}">
                <a16:creationId xmlns:a16="http://schemas.microsoft.com/office/drawing/2014/main" id="{81224AF9-1029-4C1F-B00F-31BB84ECA169}"/>
              </a:ext>
            </a:extLst>
          </p:cNvPr>
          <p:cNvCxnSpPr>
            <a:cxnSpLocks/>
          </p:cNvCxnSpPr>
          <p:nvPr/>
        </p:nvCxnSpPr>
        <p:spPr>
          <a:xfrm rot="5400000">
            <a:off x="8625981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6D4C82C7-E9F6-4215-BF51-CB254C0AA9F3}"/>
              </a:ext>
            </a:extLst>
          </p:cNvPr>
          <p:cNvCxnSpPr>
            <a:cxnSpLocks/>
          </p:cNvCxnSpPr>
          <p:nvPr/>
        </p:nvCxnSpPr>
        <p:spPr>
          <a:xfrm rot="16200000" flipH="1">
            <a:off x="8729971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3" name="Connector: Elbow 192">
            <a:extLst>
              <a:ext uri="{FF2B5EF4-FFF2-40B4-BE49-F238E27FC236}">
                <a16:creationId xmlns:a16="http://schemas.microsoft.com/office/drawing/2014/main" id="{B0F651D7-2DAB-4402-B257-6D0DEFD34F4E}"/>
              </a:ext>
            </a:extLst>
          </p:cNvPr>
          <p:cNvCxnSpPr>
            <a:cxnSpLocks/>
          </p:cNvCxnSpPr>
          <p:nvPr/>
        </p:nvCxnSpPr>
        <p:spPr>
          <a:xfrm rot="5400000">
            <a:off x="9558383" y="5504415"/>
            <a:ext cx="239904" cy="103990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rgbClr val="9A9A9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3F0E4FD-0FD3-4AC1-BDF9-143DB146601A}"/>
              </a:ext>
            </a:extLst>
          </p:cNvPr>
          <p:cNvSpPr/>
          <p:nvPr/>
        </p:nvSpPr>
        <p:spPr>
          <a:xfrm>
            <a:off x="2409825" y="4724680"/>
            <a:ext cx="9365846" cy="1525883"/>
          </a:xfrm>
          <a:prstGeom prst="rect">
            <a:avLst/>
          </a:prstGeom>
          <a:solidFill>
            <a:srgbClr val="FFFFFF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Speech Bubble: Rectangle 281">
            <a:extLst>
              <a:ext uri="{FF2B5EF4-FFF2-40B4-BE49-F238E27FC236}">
                <a16:creationId xmlns:a16="http://schemas.microsoft.com/office/drawing/2014/main" id="{913FCBD6-573F-4801-B6BC-0F55230A81F5}"/>
              </a:ext>
            </a:extLst>
          </p:cNvPr>
          <p:cNvSpPr/>
          <p:nvPr/>
        </p:nvSpPr>
        <p:spPr>
          <a:xfrm>
            <a:off x="3339724" y="5154037"/>
            <a:ext cx="6240968" cy="888307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voitteet ja avaintulosten kehitys raportoidaan julkisesti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nakoivat mittarit ovat ensisijaisesti TNVK:n sisäisessä käytössä</a:t>
            </a:r>
          </a:p>
        </p:txBody>
      </p:sp>
      <p:sp>
        <p:nvSpPr>
          <p:cNvPr id="32" name="Suorakulmio 31"/>
          <p:cNvSpPr/>
          <p:nvPr/>
        </p:nvSpPr>
        <p:spPr>
          <a:xfrm>
            <a:off x="10034706" y="4919399"/>
            <a:ext cx="736212" cy="1274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" name="Rectangle 3">
            <a:extLst>
              <a:ext uri="{FF2B5EF4-FFF2-40B4-BE49-F238E27FC236}">
                <a16:creationId xmlns:a16="http://schemas.microsoft.com/office/drawing/2014/main" id="{5472101D-0B1A-49C8-B2FD-369FE1BDD15B}"/>
              </a:ext>
            </a:extLst>
          </p:cNvPr>
          <p:cNvSpPr/>
          <p:nvPr/>
        </p:nvSpPr>
        <p:spPr>
          <a:xfrm>
            <a:off x="826359" y="1699168"/>
            <a:ext cx="1475105" cy="430887"/>
          </a:xfrm>
          <a:prstGeom prst="rect">
            <a:avLst/>
          </a:prstGeom>
          <a:noFill/>
          <a:ln w="1079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immäinen päämäärä</a:t>
            </a:r>
          </a:p>
        </p:txBody>
      </p:sp>
      <p:sp>
        <p:nvSpPr>
          <p:cNvPr id="11" name="Tekstiruutu 10"/>
          <p:cNvSpPr txBox="1"/>
          <p:nvPr/>
        </p:nvSpPr>
        <p:spPr>
          <a:xfrm>
            <a:off x="136698" y="-35247"/>
            <a:ext cx="12009745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dirty="0" smtClean="0">
                <a:solidFill>
                  <a:srgbClr val="FF0000"/>
                </a:solidFill>
              </a:rPr>
              <a:t>Keskusteluun tavoitteiden esitysjärjestys, vaikka ovatkin samanarvoisia – vaihtoehtona esimerkiksi 2, 3,1, 4</a:t>
            </a:r>
          </a:p>
          <a:p>
            <a:r>
              <a:rPr lang="fi-FI" dirty="0">
                <a:solidFill>
                  <a:srgbClr val="FF0000"/>
                </a:solidFill>
              </a:rPr>
              <a:t>T</a:t>
            </a:r>
            <a:r>
              <a:rPr lang="fi-FI" dirty="0" smtClean="0">
                <a:solidFill>
                  <a:srgbClr val="FF0000"/>
                </a:solidFill>
              </a:rPr>
              <a:t>avoitteen </a:t>
            </a:r>
            <a:r>
              <a:rPr lang="fi-FI" dirty="0">
                <a:solidFill>
                  <a:srgbClr val="FF0000"/>
                </a:solidFill>
              </a:rPr>
              <a:t>3 </a:t>
            </a:r>
            <a:r>
              <a:rPr lang="fi-FI" dirty="0" smtClean="0">
                <a:solidFill>
                  <a:srgbClr val="FF0000"/>
                </a:solidFill>
              </a:rPr>
              <a:t>sanoittaminen – mietitäänkö vielä vaihtoehtoa tehokkaalle tai jättää se pois otsikosta, </a:t>
            </a:r>
            <a:r>
              <a:rPr lang="fi-FI" dirty="0">
                <a:solidFill>
                  <a:srgbClr val="FF0000"/>
                </a:solidFill>
              </a:rPr>
              <a:t>Suomessa julkinen sektori vahvistaa ihmisten hyvinvointia ja yritysten </a:t>
            </a:r>
            <a:r>
              <a:rPr lang="fi-FI" dirty="0" smtClean="0">
                <a:solidFill>
                  <a:srgbClr val="FF0000"/>
                </a:solidFill>
              </a:rPr>
              <a:t>elinvoimaa tms.</a:t>
            </a:r>
          </a:p>
          <a:p>
            <a:r>
              <a:rPr lang="fi-FI" dirty="0" smtClean="0">
                <a:solidFill>
                  <a:srgbClr val="FF0000"/>
                </a:solidFill>
              </a:rPr>
              <a:t>Alakohtiin vähäisiä muutoksia, katsotaan tiivistämistä – tarkistatteko vielä alkuviikosta</a:t>
            </a:r>
            <a:endParaRPr lang="fi-FI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189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7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1C25F4-BE12-4CC6-82E2-E9FFC2F71D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200" y="69289"/>
            <a:ext cx="10571480" cy="1009739"/>
          </a:xfrm>
        </p:spPr>
        <p:txBody>
          <a:bodyPr/>
          <a:lstStyle/>
          <a:p>
            <a:r>
              <a:rPr lang="fi-FI" dirty="0">
                <a:sym typeface="+mj-lt"/>
              </a:rPr>
              <a:t>Avaintulokset 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652927"/>
              </p:ext>
            </p:extLst>
          </p:nvPr>
        </p:nvGraphicFramePr>
        <p:xfrm>
          <a:off x="781199" y="827786"/>
          <a:ext cx="11146341" cy="5121260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786586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727129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2063316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569310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534110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707251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noProof="0" dirty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Kansainvälinen</a:t>
                      </a:r>
                      <a:r>
                        <a:rPr lang="fi-FI" sz="1200" b="0" i="0" u="none" noProof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ilpailukyky kasvaa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EF Global Competitiveness Indexissä nousee takaisin top 3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1</a:t>
                      </a:r>
                    </a:p>
                  </a:txBody>
                  <a:tcPr marL="0" marR="746645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</a:p>
                  </a:txBody>
                  <a:tcPr marL="0" marR="1015169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6336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Viennin suhde BKT:hen palautuu finanssikriisiä edeltävälle taso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ara- ja palveluviennin</a:t>
                      </a:r>
                      <a:r>
                        <a:rPr lang="fi-FI" sz="1200" b="0" i="0" u="none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suhde BKT:hen kasvaa Ruotsin ja Saksan nykytasolle</a:t>
                      </a:r>
                      <a:endParaRPr lang="fi-FI" sz="1200" b="0" i="0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oin 40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ilastokeskus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45-47 %</a:t>
                      </a: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73122"/>
                  </a:ext>
                </a:extLst>
              </a:tr>
              <a:tr h="645617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K-investoinnit koko yhteiskunnassa kasvavat merkittävästi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K-panosten osuus BKT:sta kasvaa maailman huippujen taso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,8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ilastokeskus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5% (2033)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eskimäärin 0,17%-yksikköä vuosittain   </a:t>
                      </a: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  <a:tr h="960055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TK-investoinnit kasvavat merkittävästi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TK-panosten osuus </a:t>
                      </a:r>
                      <a:r>
                        <a:rPr lang="fi-FI" sz="1200" b="0" i="0" u="none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BKT:sta</a:t>
                      </a: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kasvaa maailman huippujen tasolle 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1,8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OECD, Main Science and Technology </a:t>
                      </a:r>
                      <a:r>
                        <a:rPr lang="fi-FI" sz="1200" b="0" i="0" u="none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dicators</a:t>
                      </a:r>
                      <a:endParaRPr lang="fi-FI" sz="1200" b="0" i="0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kumimoji="0" lang="fi-FI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rebuchet MS" panose="020B0603020202020204" pitchFamily="34" charset="0"/>
                          <a:ea typeface="+mn-ea"/>
                          <a:cs typeface="+mn-cs"/>
                          <a:sym typeface="Trebuchet MS" panose="020B0603020202020204" pitchFamily="34" charset="0"/>
                        </a:rPr>
                        <a:t>3,67 % (2033)</a:t>
                      </a:r>
                      <a:endParaRPr lang="fi-FI" sz="1200" b="0" i="1" u="none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48753"/>
                  </a:ext>
                </a:extLst>
              </a:tr>
              <a:tr h="98091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kiinteät investoinnit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kasvavat </a:t>
                      </a:r>
                      <a:r>
                        <a:rPr lang="fi-FI" sz="12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erkittävästi</a:t>
                      </a:r>
                      <a:endParaRPr lang="fi-FI" sz="1200" b="0" i="0" u="none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ten kiinteiden 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vestointien osuus yritysten arvonlisäyksestä kasvaa Ruotsin ja euromaiden tasolle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2-23 %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Eurostat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5-26 %</a:t>
                      </a:r>
                    </a:p>
                  </a:txBody>
                  <a:tcPr marL="0" marR="102072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5724375"/>
                  </a:ext>
                </a:extLst>
              </a:tr>
              <a:tr h="6138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i on paras paikka perustaa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yritys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orld Bankin Doing Business indeksin "Yrityksen perustaminen" kategoria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31</a:t>
                      </a: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102072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0695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4286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7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29927BD-4909-401E-B2D0-A2CF7AD8F7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-7808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2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2320" y="1019429"/>
          <a:ext cx="10571480" cy="6673007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642870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534906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1956903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436801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887903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et investoinnit Suomeen kasvavat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Ulkomaisten suorien sijoitusten</a:t>
                      </a:r>
                      <a:r>
                        <a:rPr lang="fi-FI" sz="1600" b="0" i="0" u="none" kern="1200" baseline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kanta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/ BKT nousee Ruotsin tasolle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32%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668063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64%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en houkuttelevuus ulkomailla kasva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Global Talent Competitiveness indeksissä mailman huipulle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7</a:t>
                      </a: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uomen </a:t>
                      </a:r>
                      <a:r>
                        <a:rPr lang="fi-FI" sz="1600" b="0" i="0" u="none" kern="1200" noProof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eknologiaklusterit</a:t>
                      </a: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laajentuvat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WEF Global Competitiveness Indexissä "12.02 Klusterikehityksen tila" kategoria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21</a:t>
                      </a: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573122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knologia-alan osaajien määrä Suomessa kasvaa työ- ja koulutusperäisen maahanmuutto lisääntymisellä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Erityisasiantuntijoiden</a:t>
                      </a:r>
                      <a:r>
                        <a:rPr lang="fi-FI" sz="1600" b="0" i="0" u="non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määrän kasvu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rkeakoulutettujen nettomaahanmuuton määrä</a:t>
                      </a:r>
                      <a:endParaRPr lang="fi-FI" sz="16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1791 (hakijat 2019)</a:t>
                      </a:r>
                    </a:p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xx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8377640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orkeakouluista syntyvien </a:t>
                      </a:r>
                      <a:r>
                        <a:rPr lang="fi-FI" sz="1600" b="0" i="0" u="none" kern="1200" dirty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artupien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määrä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itäisi alkaa seuraamaan kaikkien korkeakoulujen osalta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F:n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rahoitusta hakeneet kaupallistamishankkeet 150 kpl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46645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05415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fi-FI" dirty="0"/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66806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Arial" panose="020B0604020202020204" pitchFamily="34" charset="0"/>
                        <a:buChar char="​"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908013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0838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2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80826A3-A61B-4D86-947F-00D93764200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200" y="95936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3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2320" y="1105675"/>
          <a:ext cx="10571480" cy="5812327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642870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3534906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1956903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436801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325799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ulkisen sektorin automatisoidut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palvelut</a:t>
                      </a:r>
                      <a:r>
                        <a:rPr lang="fi-FI" sz="12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lisääntyvät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maattisten ehdotusten määr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vitettävä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752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Kansalaisten digitaalinen palvelujen käyttö lisääntyy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gitaalisten julkisten palvelujen laatu, määrä ja digitaalisten palveluiden asiointiosuuden kasvu, pysyvästi DESI Digital Public Services kärkisijoille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4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7752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1-2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65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ulkinen sektori</a:t>
                      </a:r>
                      <a:b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digitalisoituu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 OECD Digital government indeksin kaikissa 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dimensioiss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6, 23, 27,</a:t>
                      </a:r>
                      <a:b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28, 33, 33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-3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2532663"/>
                  </a:ext>
                </a:extLst>
              </a:tr>
              <a:tr h="65565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iedon hyödyntämiseen pohjautuva liiketoiminnan määrä kasvaa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vipalveluiden, </a:t>
                      </a:r>
                      <a:r>
                        <a:rPr lang="fi-FI" sz="1200" b="0" i="0" u="none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g</a:t>
                      </a: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tan ja tekoälyn käyttö lisääntyy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vipalvelut 74 % (maksulliset, Tilastokesku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ig</a:t>
                      </a: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ta 22 % yrityksistä (Tilastokesku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koäly 8 % pk-yrityksistä käyttää tai kokeilee (pk-yritysbarometri 2018)</a:t>
                      </a:r>
                    </a:p>
                  </a:txBody>
                  <a:tcPr marL="68580" marR="68580" marT="0" marB="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1015169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915034"/>
                  </a:ext>
                </a:extLst>
              </a:tr>
              <a:tr h="7736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ulkisen sektorin tehokkuus kasvaa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kisen menojen suhde BKT:hen laskee lähemmäs verrokkimaita</a:t>
                      </a:r>
                      <a:endParaRPr lang="fi-FI" sz="1200" b="0" i="1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,3 %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le 46 %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b="0" i="0" u="non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ulkisen ja yksityisen sektorin yhteistyön lisääntyminen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lisi kehittää uusi mittari </a:t>
                      </a:r>
                      <a:endParaRPr lang="fi-FI" sz="1200" b="0" i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740101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7257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83D2B19-6B23-47B5-8234-A2405420E4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5" name="think-cell Slide" r:id="rId6" imgW="327" imgH="327" progId="TCLayout.ActiveDocument.1">
                  <p:embed/>
                </p:oleObj>
              </mc:Choice>
              <mc:Fallback>
                <p:oleObj name="think-cell Slide" r:id="rId6" imgW="327" imgH="32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83D2B19-6B23-47B5-8234-A2405420E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09D8048-364F-4F63-973B-17D4BB2ED8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A239295-5E0C-C446-9CEF-922B4CC66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320" y="306000"/>
            <a:ext cx="10571480" cy="1009739"/>
          </a:xfrm>
        </p:spPr>
        <p:txBody>
          <a:bodyPr/>
          <a:lstStyle/>
          <a:p>
            <a:r>
              <a:rPr lang="fi-FI" dirty="0" smtClean="0">
                <a:sym typeface="+mj-lt"/>
              </a:rPr>
              <a:t>Tavoite 4: Avaintulokset </a:t>
            </a:r>
            <a:r>
              <a:rPr lang="fi-FI" dirty="0">
                <a:sym typeface="+mj-lt"/>
              </a:rPr>
              <a:t>ja tavoitetasot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FE3803DE-18EE-6C48-B756-4D42743DAC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9" name="Table 7">
            <a:extLst>
              <a:ext uri="{FF2B5EF4-FFF2-40B4-BE49-F238E27FC236}">
                <a16:creationId xmlns:a16="http://schemas.microsoft.com/office/drawing/2014/main" id="{A3D0EA9E-AE79-4451-97DE-8CB58D37124D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82320" y="1315739"/>
          <a:ext cx="10571480" cy="5053584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2100293">
                  <a:extLst>
                    <a:ext uri="{9D8B030D-6E8A-4147-A177-3AD203B41FA5}">
                      <a16:colId xmlns:a16="http://schemas.microsoft.com/office/drawing/2014/main" val="2336751554"/>
                    </a:ext>
                  </a:extLst>
                </a:gridCol>
                <a:gridCol w="4077483">
                  <a:extLst>
                    <a:ext uri="{9D8B030D-6E8A-4147-A177-3AD203B41FA5}">
                      <a16:colId xmlns:a16="http://schemas.microsoft.com/office/drawing/2014/main" val="678260534"/>
                    </a:ext>
                  </a:extLst>
                </a:gridCol>
                <a:gridCol w="1956903">
                  <a:extLst>
                    <a:ext uri="{9D8B030D-6E8A-4147-A177-3AD203B41FA5}">
                      <a16:colId xmlns:a16="http://schemas.microsoft.com/office/drawing/2014/main" val="1755089694"/>
                    </a:ext>
                  </a:extLst>
                </a:gridCol>
                <a:gridCol w="2436801">
                  <a:extLst>
                    <a:ext uri="{9D8B030D-6E8A-4147-A177-3AD203B41FA5}">
                      <a16:colId xmlns:a16="http://schemas.microsoft.com/office/drawing/2014/main" val="238081878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Avaintulos</a:t>
                      </a:r>
                    </a:p>
                  </a:txBody>
                  <a:tcPr marL="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Mittari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Nykytaso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fi-FI" sz="2000" b="0" i="0" u="none" dirty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avoitetaso 2030</a:t>
                      </a:r>
                    </a:p>
                  </a:txBody>
                  <a:tcPr marL="72000" marR="72000" marT="73152" marB="73152" anchor="b">
                    <a:lnT>
                      <a:noFill/>
                    </a:lnT>
                    <a:lnB w="9525" cap="flat" cmpd="sng" algn="ctr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291916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Panokset 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neutraaleihin innovaatioihin kasvavat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Sijoitus</a:t>
                      </a:r>
                      <a:r>
                        <a:rPr lang="en-US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 Global Cleantech Innovation </a:t>
                      </a:r>
                      <a:r>
                        <a:rPr lang="en-US" sz="1600" b="0" i="0" u="none" kern="120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indeksissä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2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#1</a:t>
                      </a:r>
                    </a:p>
                  </a:txBody>
                  <a:tcPr marL="0" marR="45720">
                    <a:lnT w="9525">
                      <a:solidFill>
                        <a:srgbClr val="9A9A9A">
                          <a:lumMod val="100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679629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ähähiiliteknologiat ja ilmastonmuutosta torjuvat ratkaisut lisääntyvät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ähähiiliteknologiat ja ilmastonmuutosta torjuvat ratkaisut muodostavat merkittävän osan viennistä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0 %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4051608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Päästöjen seuranta ja raportointi yleistyy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eään </a:t>
                      </a:r>
                      <a:b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</a:b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ja –jalanjälkeään </a:t>
                      </a: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raportoivien </a:t>
                      </a: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teknologiayritysten määrä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i X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jalanjälki X%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kädenjälki X%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Hiilijalanjälki 100%</a:t>
                      </a: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905291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lt"/>
                        </a:rPr>
                        <a:t>CO2-päästöt laskeva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aikkien teollisuuden alojen vuotuiset päästöt laskevat toimialojen vähähiilitiekarttojen mukaisesti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iilineutraalisuus 2035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142178"/>
                  </a:ext>
                </a:extLst>
              </a:tr>
              <a:tr h="82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iertotalouden ratkaisut lisääntyvät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r>
                        <a:rPr lang="fi-FI" sz="1600" b="0" i="0" u="none" kern="120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iertotalousliiketoiminnan indikaattorit, kehitteillä Tilastokeskuksessa</a:t>
                      </a: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​"/>
                        <a:tabLst/>
                        <a:defRPr/>
                      </a:pPr>
                      <a:endParaRPr lang="fi-FI" sz="1600" b="0" i="0" u="none" kern="120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+mn-lt"/>
                      </a:endParaRPr>
                    </a:p>
                  </a:txBody>
                  <a:tcPr marL="0" marR="45720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651526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7038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2026919" y="3073399"/>
            <a:ext cx="7386021" cy="1864043"/>
          </a:xfrm>
        </p:spPr>
        <p:txBody>
          <a:bodyPr/>
          <a:lstStyle/>
          <a:p>
            <a:r>
              <a:rPr lang="fi-FI" dirty="0" smtClean="0"/>
              <a:t>Nostot toimenpidekokonaisuuksista – kommentit ja muutosehdotukset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629041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1 </a:t>
            </a:r>
            <a:r>
              <a:rPr lang="fi-FI" dirty="0" err="1" smtClean="0"/>
              <a:t>toimenpiteistö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440031"/>
            <a:ext cx="10571480" cy="4248000"/>
          </a:xfrm>
        </p:spPr>
        <p:txBody>
          <a:bodyPr/>
          <a:lstStyle/>
          <a:p>
            <a:r>
              <a:rPr lang="fi-FI" sz="1800" dirty="0" smtClean="0"/>
              <a:t>TP1: Teknologiaministeri -&gt; ehdotetaan muutosta VSI, taustaan pidemmän aikavälin kehityksenä isommat rakenteelliset muutokset</a:t>
            </a:r>
          </a:p>
          <a:p>
            <a:r>
              <a:rPr lang="fi-FI" sz="1800" dirty="0" smtClean="0"/>
              <a:t>Rakenteet: tunnistettiin tarve päästä ulos siiloista, parlamentaarinen seuranta ja tärkeä, teknologia -&gt; teknologia- ja tietopolitiikan yhdistäminen </a:t>
            </a:r>
          </a:p>
          <a:p>
            <a:r>
              <a:rPr lang="fi-FI" sz="1800" dirty="0" smtClean="0"/>
              <a:t>TP3: TIN-uudistus -&gt; laajemmin elinkeinoelämän mukaantulo kokoonpanoon</a:t>
            </a:r>
          </a:p>
          <a:p>
            <a:r>
              <a:rPr lang="fi-FI" sz="1800" dirty="0" smtClean="0"/>
              <a:t>TP7: EU-/</a:t>
            </a:r>
            <a:r>
              <a:rPr lang="fi-FI" sz="1800" dirty="0" err="1" smtClean="0"/>
              <a:t>kv</a:t>
            </a:r>
            <a:r>
              <a:rPr lang="fi-FI" sz="1800" dirty="0" smtClean="0"/>
              <a:t>-vaikuttaminen -&gt; pitäisi olla laajemmin koko teknologiakenttään vaikuttava, nyt digi- ja datapainotus</a:t>
            </a:r>
          </a:p>
          <a:p>
            <a:r>
              <a:rPr lang="fi-FI" sz="1800" dirty="0" smtClean="0"/>
              <a:t>Ehdotettu toimenpidettä PPP-yhteistyöhön ja teknologiaennakointia</a:t>
            </a:r>
          </a:p>
          <a:p>
            <a:r>
              <a:rPr lang="fi-FI" sz="1800" dirty="0" smtClean="0"/>
              <a:t>TP8: TKI-tavoite 5% -&gt; jonkin verran kommentteja, onko realistinen, sai myös tukea -&gt; pidetään</a:t>
            </a:r>
          </a:p>
          <a:p>
            <a:r>
              <a:rPr lang="fi-FI" sz="1800" dirty="0" smtClean="0"/>
              <a:t>TP9-11: Rahoituksen suuntaaminen -&gt; pääasiassa painotukset saivat tukea, pieniä täsmennyksiä</a:t>
            </a:r>
          </a:p>
          <a:p>
            <a:r>
              <a:rPr lang="fi-FI" sz="1800" dirty="0" err="1"/>
              <a:t>PK-yritykset</a:t>
            </a:r>
            <a:r>
              <a:rPr lang="fi-FI" sz="1800" dirty="0"/>
              <a:t>: </a:t>
            </a:r>
            <a:r>
              <a:rPr lang="fi-FI" sz="1800" dirty="0" smtClean="0"/>
              <a:t>näiden innovaatiot </a:t>
            </a:r>
            <a:r>
              <a:rPr lang="fi-FI" sz="1800" dirty="0"/>
              <a:t>ja osaaminen vahvemmin mukaan</a:t>
            </a:r>
            <a:endParaRPr lang="fi-FI" sz="1800" dirty="0" smtClean="0"/>
          </a:p>
          <a:p>
            <a:r>
              <a:rPr lang="fi-FI" sz="1800" dirty="0" smtClean="0"/>
              <a:t>TP17 etätyön hyödyntäminen -&gt; tukea, voisi olla vahvempikin + työn innostavuus mukaan</a:t>
            </a:r>
          </a:p>
          <a:p>
            <a:r>
              <a:rPr lang="fi-FI" sz="1800" dirty="0" smtClean="0"/>
              <a:t>TP18: alustatyö -&gt; alustat pitäisi olla laajemmin + eritellä alustyön eroja</a:t>
            </a:r>
          </a:p>
          <a:p>
            <a:r>
              <a:rPr lang="fi-FI" sz="1800" dirty="0" smtClean="0"/>
              <a:t>Muihin joitain muutosehdotuksia, yleisesti kannatettavia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16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43523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2 </a:t>
            </a:r>
            <a:r>
              <a:rPr lang="fi-FI" dirty="0" err="1" smtClean="0"/>
              <a:t>toimenpiteistö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534161"/>
            <a:ext cx="10571480" cy="4248000"/>
          </a:xfrm>
        </p:spPr>
        <p:txBody>
          <a:bodyPr/>
          <a:lstStyle/>
          <a:p>
            <a:r>
              <a:rPr lang="fi-FI" sz="1800" dirty="0" smtClean="0"/>
              <a:t>Osaaminen yleisesti sai paljon kannatusta, sekä koulutus että maahanmuutto, jälkimmäinen nopeana toimena välttämätön, esitettiin vielä vahvemmin holistista näkemystä</a:t>
            </a:r>
          </a:p>
          <a:p>
            <a:r>
              <a:rPr lang="fi-FI" sz="1800" dirty="0" smtClean="0"/>
              <a:t>TP19: LUMA-STEAM -&gt; paljon kannatusta, joitain täsmennyksiä, ehdotuksia vientiliiketoiminnan ja johtamisosaamisen lisäämiseksi, vielä vahvempi luovien alojen ja tekniikan alojen yhdistäminen</a:t>
            </a:r>
          </a:p>
          <a:p>
            <a:r>
              <a:rPr lang="fi-FI" sz="1800" dirty="0" smtClean="0"/>
              <a:t>TP20: Jatkuva oppiminen -&gt; paljon kannatusta, mutta alakohtia katsottava tarkemmin</a:t>
            </a:r>
          </a:p>
          <a:p>
            <a:r>
              <a:rPr lang="fi-FI" sz="1800" dirty="0" smtClean="0"/>
              <a:t>TP21: yrittäjyyskasvatus -&gt; ehdotuksia edelleen vahvistamisesta + täsmennyksiä</a:t>
            </a:r>
          </a:p>
          <a:p>
            <a:r>
              <a:rPr lang="fi-FI" sz="1800" dirty="0" smtClean="0"/>
              <a:t>TP23: korkeakoulujen profilointi ja tutkimuksen kaupallistaminen-&gt; lähtökohtana profilointi ok, vastustusta liian suoraviivaiselle keskittämiselle, kaupallistamisen osalta pitäisi löytää oikein ohjaavat toimet</a:t>
            </a:r>
          </a:p>
          <a:p>
            <a:r>
              <a:rPr lang="fi-FI" sz="1800" dirty="0" smtClean="0"/>
              <a:t>TP24-27: työ- ja koulutusperäinen maahanmuutto -&gt; paljon kannatusta, jonkin verran täsmennyksiä ja selvennystä, huomioitava mahdolliset väärinkäytökset, 25d hankala</a:t>
            </a:r>
          </a:p>
          <a:p>
            <a:r>
              <a:rPr lang="fi-FI" sz="1800" dirty="0" smtClean="0"/>
              <a:t>TP 29-31: </a:t>
            </a:r>
            <a:r>
              <a:rPr lang="fi-FI" sz="1800" dirty="0" err="1" smtClean="0"/>
              <a:t>kv</a:t>
            </a:r>
            <a:r>
              <a:rPr lang="fi-FI" sz="1800" dirty="0" smtClean="0"/>
              <a:t>-verkostot, investointien houkuttelu, maakuva -&gt; </a:t>
            </a:r>
            <a:r>
              <a:rPr lang="fi-FI" sz="1800" dirty="0" err="1" smtClean="0"/>
              <a:t>kv</a:t>
            </a:r>
            <a:r>
              <a:rPr lang="fi-FI" sz="1800" dirty="0" smtClean="0"/>
              <a:t>-kulman vahvistamista, kaikkiin jonkin verran täsmennyksiä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331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3 </a:t>
            </a:r>
            <a:r>
              <a:rPr lang="fi-FI" dirty="0" err="1" smtClean="0"/>
              <a:t>toimenpiteistö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305561"/>
            <a:ext cx="10571480" cy="4248000"/>
          </a:xfrm>
        </p:spPr>
        <p:txBody>
          <a:bodyPr/>
          <a:lstStyle/>
          <a:p>
            <a:r>
              <a:rPr lang="fi-FI" sz="1800" dirty="0" smtClean="0"/>
              <a:t>Yleisesti kattava, mutta ehdotettiin myös tiivistämistä / priorisointia, lisäksi useita täsmennysehdotuksia, suhde vireillä olevaan työhön, tiedon hyödyntäminen tilastointitarkoituksiin, kytkentä osaamiseen</a:t>
            </a:r>
          </a:p>
          <a:p>
            <a:r>
              <a:rPr lang="fi-FI" sz="1800" dirty="0" smtClean="0"/>
              <a:t>TP32: digitaalisen yhteydenottotavan ensisijaisuudelle -&gt; kannatusta, voisi olla vahvempikin, kytkeminen järjestöjen palveluihin, käyttäjälähtöisen kehityksen pakottaminen</a:t>
            </a:r>
          </a:p>
          <a:p>
            <a:r>
              <a:rPr lang="fi-FI" sz="1800" dirty="0" smtClean="0"/>
              <a:t>TP33: ennakoivat palvelut ja automaattiset etuudet -&gt; kannatusta, mutta myös haasteita, eteneminen asteittain</a:t>
            </a:r>
            <a:endParaRPr lang="fi-FI" dirty="0" smtClean="0"/>
          </a:p>
          <a:p>
            <a:r>
              <a:rPr lang="fi-FI" sz="1800" dirty="0" smtClean="0"/>
              <a:t>TP34: osallisuus -&gt; konkretisointi, ehdotuksia mm. selkokielisyys, saavutettavuusvaatimusten kouluttaminen, englanti kielenä, keskivertodigiosaajien huomiointi</a:t>
            </a:r>
          </a:p>
          <a:p>
            <a:r>
              <a:rPr lang="fi-FI" sz="1800" dirty="0" smtClean="0"/>
              <a:t>TP35: digitaalinen identiteetti -&gt; kannatusta, myös esineiden id</a:t>
            </a:r>
          </a:p>
          <a:p>
            <a:r>
              <a:rPr lang="fi-FI" sz="1800" dirty="0" smtClean="0"/>
              <a:t>TP39: julkisen sektorin data -&gt; tunnistettiin vielä paljon tehtävää, myös tuottavuuskysymys</a:t>
            </a:r>
          </a:p>
          <a:p>
            <a:r>
              <a:rPr lang="fi-FI" sz="1800" dirty="0" smtClean="0"/>
              <a:t>TP41: tietoturva -&gt; toimena sai eniten kannatusta, vahvistaminen vielä</a:t>
            </a:r>
          </a:p>
          <a:p>
            <a:r>
              <a:rPr lang="fi-FI" sz="1800" dirty="0" smtClean="0"/>
              <a:t>TP42: julkinen sektori edelläkävijänä -&gt; konkretisointi, tietojohtaminen, muutosjohtaminen, muutama kriittinen, kannattaako olla edelläkävijä (riskit)</a:t>
            </a:r>
          </a:p>
          <a:p>
            <a:r>
              <a:rPr lang="fi-FI" sz="1800" dirty="0" smtClean="0"/>
              <a:t>TP43: kokeilut -&gt; laajempana mukaan, voisi yhdistää ekosysteemeihin</a:t>
            </a:r>
          </a:p>
          <a:p>
            <a:r>
              <a:rPr lang="fi-FI" sz="1800" dirty="0" smtClean="0"/>
              <a:t>Lohkoketjut mukaan</a:t>
            </a:r>
          </a:p>
          <a:p>
            <a:endParaRPr lang="fi-FI" sz="1800" dirty="0" smtClean="0"/>
          </a:p>
          <a:p>
            <a:endParaRPr lang="fi-FI" sz="1800" dirty="0" smtClean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693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Tavoitteen 4 </a:t>
            </a:r>
            <a:r>
              <a:rPr lang="fi-FI" dirty="0" err="1" smtClean="0"/>
              <a:t>toimenpiteistö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534161"/>
            <a:ext cx="10571480" cy="4248000"/>
          </a:xfrm>
        </p:spPr>
        <p:txBody>
          <a:bodyPr/>
          <a:lstStyle/>
          <a:p>
            <a:r>
              <a:rPr lang="fi-FI" sz="1800" dirty="0" smtClean="0"/>
              <a:t>Yleisesti kannatusta</a:t>
            </a:r>
          </a:p>
          <a:p>
            <a:r>
              <a:rPr lang="fi-FI" sz="1800" dirty="0" smtClean="0"/>
              <a:t>TP44: arviointikehikko poikkeuksiin teknologianeutraaliudesta hyvä avaus, mutta vielä täsmennystä</a:t>
            </a:r>
          </a:p>
          <a:p>
            <a:r>
              <a:rPr lang="fi-FI" sz="1800" dirty="0" smtClean="0"/>
              <a:t>Kannustettaviin teknologia-alueisiin ehdotuksia </a:t>
            </a:r>
            <a:r>
              <a:rPr lang="fi-FI" sz="1800" dirty="0"/>
              <a:t>avaruusteknologia ja kemianteollisuuden </a:t>
            </a:r>
            <a:r>
              <a:rPr lang="fi-FI" sz="1800" dirty="0" smtClean="0"/>
              <a:t>ratkaisut osana vihreää siirtymää, sektorikytkentä energiaratkaisuissa sekä teknologia-alueet ylittävät ratkaisut</a:t>
            </a:r>
            <a:endParaRPr lang="fi-FI" sz="1800" dirty="0"/>
          </a:p>
          <a:p>
            <a:r>
              <a:rPr lang="fi-FI" sz="1800" dirty="0" smtClean="0"/>
              <a:t>Yksittäiset nostot panoksissa</a:t>
            </a:r>
          </a:p>
          <a:p>
            <a:pPr lvl="1"/>
            <a:r>
              <a:rPr lang="fi-FI" sz="1400" dirty="0" smtClean="0"/>
              <a:t>Tekoäly: ELLIS-instituutti ja LUMI </a:t>
            </a:r>
            <a:r>
              <a:rPr lang="fi-FI" sz="1400" dirty="0" err="1" smtClean="0"/>
              <a:t>HPC:n</a:t>
            </a:r>
            <a:r>
              <a:rPr lang="fi-FI" sz="1400" dirty="0" smtClean="0"/>
              <a:t> hyödyntäminen (liittyy myös kvanttiin)</a:t>
            </a:r>
          </a:p>
          <a:p>
            <a:pPr lvl="1"/>
            <a:r>
              <a:rPr lang="fi-FI" sz="1400" dirty="0" smtClean="0"/>
              <a:t>Kvantti: kvanttilaskentainfran ja kvanttiekosysteemin kehittäminen</a:t>
            </a:r>
          </a:p>
          <a:p>
            <a:pPr lvl="1"/>
            <a:r>
              <a:rPr lang="fi-FI" sz="1400" dirty="0" smtClean="0"/>
              <a:t>Lisäksi ehdotettu: </a:t>
            </a:r>
            <a:r>
              <a:rPr lang="fi-FI" sz="1400" dirty="0" err="1" smtClean="0"/>
              <a:t>Arctic</a:t>
            </a:r>
            <a:r>
              <a:rPr lang="fi-FI" sz="1400" dirty="0" smtClean="0"/>
              <a:t> </a:t>
            </a:r>
            <a:r>
              <a:rPr lang="fi-FI" sz="1400" dirty="0"/>
              <a:t>Connect R&amp;E esimerkiksi kannustettaviin </a:t>
            </a:r>
            <a:r>
              <a:rPr lang="fi-FI" sz="1400" dirty="0" smtClean="0"/>
              <a:t>teknologia-alueisiin radio- </a:t>
            </a:r>
            <a:r>
              <a:rPr lang="fi-FI" sz="1400" dirty="0"/>
              <a:t>ja tietoliikenteen </a:t>
            </a:r>
            <a:r>
              <a:rPr lang="fi-FI" sz="1400" dirty="0" smtClean="0"/>
              <a:t>yhteyteen sekä Bioruukki alustana </a:t>
            </a:r>
            <a:endParaRPr lang="fi-FI" sz="1400" dirty="0"/>
          </a:p>
          <a:p>
            <a:r>
              <a:rPr lang="fi-FI" sz="1800" dirty="0" smtClean="0"/>
              <a:t>TP45: ilmastoratkaisut -&gt; laajentaminen koko teollisuuteen (ei vain ICT), systeemiset ratkaisut, standardointi mittaamisessa, konesalien houkuttelu ilmastonäkökulmasta, teollisuuden vähähiilitiekartat</a:t>
            </a:r>
          </a:p>
          <a:p>
            <a:r>
              <a:rPr lang="fi-FI" sz="1800" dirty="0" smtClean="0"/>
              <a:t>TP46: huoltovarmuus -&gt; tärkeä, muutamia täsmennyksiä</a:t>
            </a:r>
            <a:endParaRPr lang="fi-FI" sz="1800" dirty="0"/>
          </a:p>
          <a:p>
            <a:endParaRPr lang="fi-FI" sz="1800" dirty="0" smtClean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3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Asialist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2320" y="1529484"/>
            <a:ext cx="10571480" cy="42480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Kokouksen avaus ja edellisen kokouksen </a:t>
            </a:r>
            <a:r>
              <a:rPr lang="fi-FI" sz="2000" dirty="0" smtClean="0"/>
              <a:t>pöytäkirja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Lausuntokierroksen </a:t>
            </a:r>
            <a:r>
              <a:rPr lang="fi-FI" sz="2000" dirty="0"/>
              <a:t>palaute ja raportin lopputyöstö</a:t>
            </a:r>
          </a:p>
          <a:p>
            <a:pPr marL="869950" lvl="1" indent="-514350"/>
            <a:r>
              <a:rPr lang="fi-FI" sz="2000" i="1" dirty="0" smtClean="0"/>
              <a:t>Esittely, keskustelu </a:t>
            </a:r>
            <a:r>
              <a:rPr lang="fi-FI" sz="2000" i="1" dirty="0" smtClean="0"/>
              <a:t>ja huomiot jatkotyön pohjaksi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Seurantamalli</a:t>
            </a:r>
          </a:p>
          <a:p>
            <a:pPr lvl="1"/>
            <a:r>
              <a:rPr lang="fi-FI" sz="2000" i="1" dirty="0"/>
              <a:t>Teknologianeuvottelukunnan toimintamalli </a:t>
            </a:r>
            <a:r>
              <a:rPr lang="fi-FI" sz="2000" i="1" dirty="0" smtClean="0"/>
              <a:t>seurantaan</a:t>
            </a:r>
            <a:endParaRPr lang="fi-FI" sz="2000" i="1" dirty="0"/>
          </a:p>
          <a:p>
            <a:pPr lvl="1"/>
            <a:r>
              <a:rPr lang="fi-FI" sz="2000" i="1" dirty="0" smtClean="0"/>
              <a:t>Päivitys </a:t>
            </a:r>
            <a:r>
              <a:rPr lang="fi-FI" sz="2000" i="1" dirty="0"/>
              <a:t>seurantatyökaluun </a:t>
            </a:r>
            <a:r>
              <a:rPr lang="fi-FI" sz="2000" i="1" dirty="0" smtClean="0"/>
              <a:t>liittyen</a:t>
            </a:r>
            <a:endParaRPr lang="fi-FI" sz="2000" i="1" dirty="0"/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Jatkotyöskentelystä</a:t>
            </a:r>
          </a:p>
          <a:p>
            <a:pPr marL="869950" lvl="1" indent="-514350"/>
            <a:r>
              <a:rPr lang="fi-FI" sz="2000" i="1" dirty="0" smtClean="0"/>
              <a:t>Aikataulu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Muut asiat</a:t>
            </a:r>
          </a:p>
          <a:p>
            <a:pPr marL="514350" indent="-514350">
              <a:buFont typeface="+mj-lt"/>
              <a:buAutoNum type="arabicPeriod"/>
            </a:pPr>
            <a:r>
              <a:rPr lang="fi-FI" sz="2000" dirty="0" smtClean="0"/>
              <a:t>Kokouksen päättämine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99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1200" y="162274"/>
            <a:ext cx="10571480" cy="1014186"/>
          </a:xfrm>
        </p:spPr>
        <p:txBody>
          <a:bodyPr/>
          <a:lstStyle/>
          <a:p>
            <a:r>
              <a:rPr lang="fi-FI" dirty="0" smtClean="0"/>
              <a:t>Työstöä viimeisen viikon aikan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078139"/>
            <a:ext cx="10217374" cy="4085531"/>
          </a:xfrm>
        </p:spPr>
        <p:txBody>
          <a:bodyPr/>
          <a:lstStyle/>
          <a:p>
            <a:r>
              <a:rPr lang="fi-FI" sz="2000" dirty="0" smtClean="0"/>
              <a:t>Yleisiä huomioita pyritty huomioimaan tekstissä</a:t>
            </a:r>
          </a:p>
          <a:p>
            <a:r>
              <a:rPr lang="fi-FI" sz="2000" dirty="0" smtClean="0"/>
              <a:t>Tiivistelmä ja tilannekuvan johtopäätökset hyvä kaikkien katsoa (vielä kesken)</a:t>
            </a:r>
          </a:p>
          <a:p>
            <a:r>
              <a:rPr lang="fi-FI" sz="2000" dirty="0" smtClean="0"/>
              <a:t>Yhteenvetokuvia vielä tulossa</a:t>
            </a:r>
          </a:p>
          <a:p>
            <a:r>
              <a:rPr lang="fi-FI" sz="2000" dirty="0" smtClean="0"/>
              <a:t>Toimenpiteet:</a:t>
            </a:r>
          </a:p>
          <a:p>
            <a:pPr lvl="1"/>
            <a:r>
              <a:rPr lang="fi-FI" sz="2000" dirty="0" smtClean="0"/>
              <a:t>Tärkeimmät </a:t>
            </a:r>
            <a:r>
              <a:rPr lang="fi-FI" sz="2000" dirty="0"/>
              <a:t>kommentit, liittyvät hankkeet jne. </a:t>
            </a:r>
            <a:r>
              <a:rPr lang="fi-FI" sz="2000" dirty="0"/>
              <a:t>kerätty </a:t>
            </a:r>
            <a:r>
              <a:rPr lang="fi-FI" sz="2000" dirty="0" err="1"/>
              <a:t>exceliin</a:t>
            </a:r>
            <a:r>
              <a:rPr lang="fi-FI" sz="2000" dirty="0"/>
              <a:t>, työstetään näitä -&gt; tarkoitus voida julkaista taulukko, jossa tunnistettu vireillä olevat asiat, aikajänne, vastuutaho, vaikuttavuutta</a:t>
            </a:r>
          </a:p>
          <a:p>
            <a:pPr lvl="1"/>
            <a:r>
              <a:rPr lang="fi-FI" sz="2000" dirty="0"/>
              <a:t>Konkretisoidaan ja tehdään jaottelua sen mukaan, mitkä pystyy purkamaan seurattaviin ja mitkä edistettäviä, mutta ei erikseen </a:t>
            </a:r>
            <a:r>
              <a:rPr lang="fi-FI" sz="2000" dirty="0" smtClean="0"/>
              <a:t>seurattavia</a:t>
            </a:r>
          </a:p>
          <a:p>
            <a:pPr lvl="1"/>
            <a:r>
              <a:rPr lang="fi-FI" sz="2000" dirty="0" smtClean="0"/>
              <a:t>Muutamien toimien jakamista, uusien lisäämistä, kokonaismäärä pysyy n. 50</a:t>
            </a:r>
            <a:endParaRPr lang="fi-FI" sz="200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kstiruutu 4"/>
          <p:cNvSpPr txBox="1"/>
          <p:nvPr/>
        </p:nvSpPr>
        <p:spPr>
          <a:xfrm>
            <a:off x="722369" y="4977507"/>
            <a:ext cx="10689141" cy="166199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l"/>
            <a:endParaRPr lang="fi-FI" dirty="0" smtClean="0">
              <a:solidFill>
                <a:schemeClr val="bg1"/>
              </a:solidFill>
            </a:endParaRPr>
          </a:p>
          <a:p>
            <a:pPr algn="l"/>
            <a:r>
              <a:rPr lang="fi-FI" dirty="0" smtClean="0">
                <a:solidFill>
                  <a:schemeClr val="bg1"/>
                </a:solidFill>
              </a:rPr>
              <a:t>Ajantasainen raportti ja toimenpide-</a:t>
            </a:r>
            <a:r>
              <a:rPr lang="fi-FI" dirty="0" err="1" smtClean="0">
                <a:solidFill>
                  <a:schemeClr val="bg1"/>
                </a:solidFill>
              </a:rPr>
              <a:t>excel</a:t>
            </a:r>
            <a:r>
              <a:rPr lang="fi-FI" dirty="0" smtClean="0">
                <a:solidFill>
                  <a:schemeClr val="bg1"/>
                </a:solidFill>
              </a:rPr>
              <a:t> löytyvät </a:t>
            </a:r>
            <a:r>
              <a:rPr lang="fi-FI" dirty="0" err="1" smtClean="0">
                <a:solidFill>
                  <a:schemeClr val="bg1"/>
                </a:solidFill>
              </a:rPr>
              <a:t>Teamsista</a:t>
            </a:r>
            <a:r>
              <a:rPr lang="fi-FI" dirty="0" smtClean="0">
                <a:solidFill>
                  <a:schemeClr val="bg1"/>
                </a:solidFill>
              </a:rPr>
              <a:t>: </a:t>
            </a:r>
            <a:endParaRPr lang="fi-FI" dirty="0" smtClean="0">
              <a:solidFill>
                <a:schemeClr val="bg1"/>
              </a:solidFill>
            </a:endParaRPr>
          </a:p>
          <a:p>
            <a:r>
              <a:rPr lang="fi-FI" dirty="0">
                <a:solidFill>
                  <a:schemeClr val="bg1"/>
                </a:solidFill>
                <a:hlinkClick r:id="rId3"/>
              </a:rPr>
              <a:t>https://teams.microsoft.com/_#/files/Yleinen?threadId=19%3A77b90626a2f14c63ac8e5ed625df502a%40thread.tacv2&amp;ctx=channel&amp;context=General&amp;rootfolder=%</a:t>
            </a:r>
            <a:r>
              <a:rPr lang="fi-FI" dirty="0" smtClean="0">
                <a:solidFill>
                  <a:schemeClr val="bg1"/>
                </a:solidFill>
                <a:hlinkClick r:id="rId3"/>
              </a:rPr>
              <a:t>252Fsites%252FTeknonvknraporttiluonnoksenkommentointi%252FShared%2520Documents%252FGeneral</a:t>
            </a:r>
            <a:endParaRPr lang="fi-FI" dirty="0" smtClean="0">
              <a:solidFill>
                <a:schemeClr val="bg1"/>
              </a:solidFill>
            </a:endParaRPr>
          </a:p>
          <a:p>
            <a:pPr algn="l"/>
            <a:r>
              <a:rPr lang="fi-FI" dirty="0" smtClean="0">
                <a:solidFill>
                  <a:schemeClr val="bg1"/>
                </a:solidFill>
              </a:rPr>
              <a:t> </a:t>
            </a:r>
            <a:endParaRPr lang="fi-FI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649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51998" y="599353"/>
            <a:ext cx="10571480" cy="649953"/>
          </a:xfrm>
        </p:spPr>
        <p:txBody>
          <a:bodyPr/>
          <a:lstStyle/>
          <a:p>
            <a:r>
              <a:rPr lang="fi-FI" dirty="0" smtClean="0"/>
              <a:t>Johtopäätökset tilannekuvasta </a:t>
            </a:r>
            <a:r>
              <a:rPr lang="fi-FI" b="0" dirty="0" smtClean="0"/>
              <a:t>(</a:t>
            </a:r>
            <a:r>
              <a:rPr lang="fi-FI" b="0" dirty="0" smtClean="0"/>
              <a:t>alustava, tarkemmin raportti luku 4.5)</a:t>
            </a:r>
            <a:r>
              <a:rPr lang="fi-FI" dirty="0" smtClean="0"/>
              <a:t/>
            </a:r>
            <a:br>
              <a:rPr lang="fi-FI" dirty="0" smtClean="0"/>
            </a:b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781200" y="1775661"/>
            <a:ext cx="5156538" cy="42480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fi-FI" dirty="0"/>
              <a:t>Poikkihallinnollinen jatkuva teknologiapolitiikka ja sen tehokas täytäntöönpano. </a:t>
            </a:r>
            <a:endParaRPr lang="fi-FI" dirty="0" smtClean="0"/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Teknologianeutraaliuden pääperiaate ja panokset kannustettaviin teknologia-alueisiin. </a:t>
            </a:r>
            <a:endParaRPr lang="fi-FI" dirty="0" smtClean="0"/>
          </a:p>
          <a:p>
            <a:pPr marL="457200" indent="-457200">
              <a:buFont typeface="+mj-lt"/>
              <a:buAutoNum type="arabicPeriod"/>
            </a:pPr>
            <a:r>
              <a:rPr lang="fi-FI" dirty="0" smtClean="0"/>
              <a:t>Tuotekehitysinvestointeihin </a:t>
            </a:r>
            <a:r>
              <a:rPr lang="fi-FI" dirty="0"/>
              <a:t>merkittävästi enemmän varoja. </a:t>
            </a:r>
            <a:r>
              <a:rPr lang="fi-FI" sz="1600" dirty="0" smtClean="0"/>
              <a:t>(</a:t>
            </a:r>
            <a:r>
              <a:rPr lang="fi-FI" sz="1600" dirty="0"/>
              <a:t>Ennen kaikkea yritysten TKI-investointien </a:t>
            </a:r>
            <a:r>
              <a:rPr lang="fi-FI" sz="1600" dirty="0" err="1"/>
              <a:t>vivuttaminen</a:t>
            </a:r>
            <a:r>
              <a:rPr lang="fi-FI" sz="1600" dirty="0"/>
              <a:t> julkisen tuen avulla ja tutkimuksen kaupallistaminen </a:t>
            </a:r>
            <a:r>
              <a:rPr lang="fi-FI" sz="1600" dirty="0" smtClean="0"/>
              <a:t>keskeisiä.) 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/>
              <a:t>Innovaatioympäristön ja -ekosysteemien vahvistaminen</a:t>
            </a:r>
            <a:r>
              <a:rPr lang="fi-FI" dirty="0" smtClean="0"/>
              <a:t>.</a:t>
            </a:r>
          </a:p>
          <a:p>
            <a:pPr marL="457200" indent="-457200">
              <a:buFont typeface="+mj-lt"/>
              <a:buAutoNum type="arabicPeriod"/>
            </a:pPr>
            <a:r>
              <a:rPr lang="fi-FI" dirty="0" smtClean="0"/>
              <a:t>Osaajat</a:t>
            </a:r>
            <a:r>
              <a:rPr lang="fi-FI" dirty="0"/>
              <a:t>. </a:t>
            </a:r>
            <a:r>
              <a:rPr lang="fi-FI" sz="1600" dirty="0" smtClean="0"/>
              <a:t>(Maahanmuutto </a:t>
            </a:r>
            <a:r>
              <a:rPr lang="fi-FI" sz="1600" dirty="0"/>
              <a:t>ja koulutus.)</a:t>
            </a: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85388" y="1815622"/>
            <a:ext cx="5187462" cy="4248000"/>
          </a:xfrm>
        </p:spPr>
        <p:txBody>
          <a:bodyPr/>
          <a:lstStyle/>
          <a:p>
            <a:pPr marL="457200" indent="-457200">
              <a:buFont typeface="+mj-lt"/>
              <a:buAutoNum type="arabicPeriod" startAt="6"/>
            </a:pPr>
            <a:r>
              <a:rPr lang="fi-FI" dirty="0" smtClean="0"/>
              <a:t>Julkisen </a:t>
            </a:r>
            <a:r>
              <a:rPr lang="fi-FI" dirty="0"/>
              <a:t>hallinnon ja palvelutuotannon automatisointi ja integrointi yli hallinnonalojen kansalaisten ja yritysten hyödyksi</a:t>
            </a:r>
            <a:r>
              <a:rPr lang="fi-FI" dirty="0" smtClean="0"/>
              <a:t>.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Mahdollistava julkishallinto ja lainsäädäntö. </a:t>
            </a:r>
            <a:endParaRPr lang="fi-FI" dirty="0" smtClean="0"/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Yrittäjyys ja teknologiayritysten pysyminen suomalaisina. </a:t>
            </a:r>
          </a:p>
          <a:p>
            <a:pPr marL="457200" indent="-457200">
              <a:buFont typeface="+mj-lt"/>
              <a:buAutoNum type="arabicPeriod" startAt="6"/>
            </a:pPr>
            <a:r>
              <a:rPr lang="fi-FI" dirty="0" smtClean="0"/>
              <a:t>Digitaalisen </a:t>
            </a:r>
            <a:r>
              <a:rPr lang="fi-FI" dirty="0"/>
              <a:t>pehmeän infrastruktuurin vahvistaminen. </a:t>
            </a:r>
            <a:endParaRPr lang="fi-FI" dirty="0" smtClean="0"/>
          </a:p>
          <a:p>
            <a:pPr marL="457200" indent="-457200">
              <a:buFont typeface="+mj-lt"/>
              <a:buAutoNum type="arabicPeriod" startAt="6"/>
            </a:pPr>
            <a:r>
              <a:rPr lang="fi-FI" dirty="0"/>
              <a:t>Yhteistyö yli rajojen kansallisesti ja kansainvälisesti. </a:t>
            </a:r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kstiruutu 5"/>
          <p:cNvSpPr txBox="1"/>
          <p:nvPr/>
        </p:nvSpPr>
        <p:spPr>
          <a:xfrm>
            <a:off x="650878" y="1255464"/>
            <a:ext cx="105726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ka kärkimaaksi edellyttää pikaisia toimia poikkihallinnollisesti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  <a:endParaRPr kumimoji="0" lang="fi-FI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27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TNVK – raporttiluonnokseen saatuja huomioita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88437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674744" y="50763"/>
            <a:ext cx="10571480" cy="1014186"/>
          </a:xfrm>
        </p:spPr>
        <p:txBody>
          <a:bodyPr/>
          <a:lstStyle/>
          <a:p>
            <a:r>
              <a:rPr lang="fi-FI" dirty="0" smtClean="0"/>
              <a:t>Yleisiä kommenttej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674744" y="1214985"/>
            <a:ext cx="10984976" cy="4690574"/>
          </a:xfrm>
        </p:spPr>
        <p:txBody>
          <a:bodyPr/>
          <a:lstStyle/>
          <a:p>
            <a:r>
              <a:rPr lang="fi-FI" sz="2000" dirty="0" smtClean="0"/>
              <a:t>Neuvottelukunnan asettamista ja teknologiapolitiikan tarkastelua pidetty tärkeänä</a:t>
            </a:r>
          </a:p>
          <a:p>
            <a:r>
              <a:rPr lang="fi-FI" sz="2000" dirty="0" smtClean="0"/>
              <a:t>Pääosin raporttia pidetty selkeänä, kokonaisvaltaisena ja monipuolisena</a:t>
            </a:r>
          </a:p>
          <a:p>
            <a:r>
              <a:rPr lang="fi-FI" sz="2000" dirty="0" smtClean="0"/>
              <a:t>Selkeä malli saanut kiitosta: OKR</a:t>
            </a:r>
            <a:r>
              <a:rPr lang="fi-FI" sz="2000" dirty="0" smtClean="0"/>
              <a:t>, tavoitteet, mittaaminen </a:t>
            </a:r>
            <a:endParaRPr lang="fi-FI" sz="2000" dirty="0" smtClean="0"/>
          </a:p>
          <a:p>
            <a:r>
              <a:rPr lang="fi-FI" sz="2000" dirty="0" smtClean="0"/>
              <a:t>Teknologianeutraaliutta pidetty tärkeänä lähtökohtana ja viitekehyksen laatimista hyvänä, vielä selkiyttämistä jonkin verran</a:t>
            </a:r>
          </a:p>
          <a:p>
            <a:r>
              <a:rPr lang="fi-FI" sz="2000" dirty="0" smtClean="0"/>
              <a:t>Tavoitteisto saanut </a:t>
            </a:r>
            <a:r>
              <a:rPr lang="fi-FI" sz="2000" dirty="0" smtClean="0"/>
              <a:t>laajan tuen, muutamissa kommenteissa toivottiin vahvempaa painotusta yhteiskunnalliseen vaikutukseen eikä pidetty julkishallinnon tehokkuutta perimmäisenä tavoitteena</a:t>
            </a:r>
          </a:p>
          <a:p>
            <a:r>
              <a:rPr lang="fi-FI" sz="2000" dirty="0" smtClean="0"/>
              <a:t>Osa </a:t>
            </a:r>
            <a:r>
              <a:rPr lang="fi-FI" sz="2000" dirty="0" smtClean="0"/>
              <a:t>pitänyt toimia konkreettisena, osa kaipaa lisää </a:t>
            </a:r>
            <a:r>
              <a:rPr lang="fi-FI" sz="2000" dirty="0" err="1" smtClean="0"/>
              <a:t>konkretiaa</a:t>
            </a:r>
            <a:endParaRPr lang="fi-FI" sz="2000" dirty="0" smtClean="0"/>
          </a:p>
          <a:p>
            <a:r>
              <a:rPr lang="fi-FI" sz="2000" dirty="0" smtClean="0"/>
              <a:t>Toimenpiteitä pidetty kattavina</a:t>
            </a:r>
            <a:endParaRPr lang="fi-FI" sz="2000" dirty="0" smtClean="0"/>
          </a:p>
          <a:p>
            <a:r>
              <a:rPr lang="fi-FI" sz="2000" dirty="0" smtClean="0"/>
              <a:t>Mieluummin toimien </a:t>
            </a:r>
            <a:r>
              <a:rPr lang="fi-FI" sz="2000" dirty="0" smtClean="0"/>
              <a:t>priorisointi ja tiivistäminen </a:t>
            </a:r>
            <a:r>
              <a:rPr lang="fi-FI" sz="2000" dirty="0" smtClean="0"/>
              <a:t>kuin </a:t>
            </a:r>
            <a:r>
              <a:rPr lang="fi-FI" sz="2000" dirty="0" smtClean="0"/>
              <a:t>lisääminen, suhde meneillään oleviin hankkeisiin jne.</a:t>
            </a:r>
          </a:p>
          <a:p>
            <a:r>
              <a:rPr lang="fi-FI" sz="2000" dirty="0" smtClean="0"/>
              <a:t>Kaikille toimenpideosioille oma kannattajakuntansa</a:t>
            </a:r>
            <a:endParaRPr lang="fi-FI" sz="2000" dirty="0" smtClean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7257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781200" y="0"/>
            <a:ext cx="10571480" cy="1325563"/>
          </a:xfrm>
        </p:spPr>
        <p:txBody>
          <a:bodyPr/>
          <a:lstStyle/>
          <a:p>
            <a:r>
              <a:rPr lang="fi-FI" dirty="0" smtClean="0"/>
              <a:t>Kriittisiä / kehityshuomioita yleisesti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781200" y="1056622"/>
            <a:ext cx="10998424" cy="4248000"/>
          </a:xfrm>
        </p:spPr>
        <p:txBody>
          <a:bodyPr/>
          <a:lstStyle/>
          <a:p>
            <a:r>
              <a:rPr lang="fi-FI" sz="2000" dirty="0"/>
              <a:t>T</a:t>
            </a:r>
            <a:r>
              <a:rPr lang="fi-FI" sz="2000" dirty="0" smtClean="0"/>
              <a:t>eknologioiden </a:t>
            </a:r>
            <a:r>
              <a:rPr lang="fi-FI" sz="2000" dirty="0" smtClean="0"/>
              <a:t>hyödyntäminen laajemmin </a:t>
            </a:r>
            <a:r>
              <a:rPr lang="fi-FI" sz="2000" dirty="0" smtClean="0"/>
              <a:t>mukaan</a:t>
            </a:r>
          </a:p>
          <a:p>
            <a:r>
              <a:rPr lang="fi-FI" sz="2000" dirty="0" smtClean="0"/>
              <a:t>ICT-painotus </a:t>
            </a:r>
            <a:r>
              <a:rPr lang="fi-FI" sz="2000" dirty="0" smtClean="0"/>
              <a:t>nousi muutamassa </a:t>
            </a:r>
            <a:r>
              <a:rPr lang="fi-FI" sz="2000" dirty="0" smtClean="0"/>
              <a:t>lausunnossa: teknologia tulisi käsitellä laajempana kysymyksenä</a:t>
            </a:r>
          </a:p>
          <a:p>
            <a:r>
              <a:rPr lang="fi-FI" sz="2000" dirty="0" smtClean="0"/>
              <a:t>Digi- ja datapainotus: </a:t>
            </a:r>
            <a:r>
              <a:rPr lang="fi-FI" sz="2000" dirty="0" smtClean="0"/>
              <a:t>muut teollisuudenalat mukaan vahvemmin, tehdasteollisuus </a:t>
            </a:r>
            <a:endParaRPr lang="fi-FI" sz="2000" dirty="0" smtClean="0"/>
          </a:p>
          <a:p>
            <a:r>
              <a:rPr lang="fi-FI" sz="2000" dirty="0" smtClean="0"/>
              <a:t>Pienten ja keskisuurten kaupunkien näkökulma</a:t>
            </a:r>
          </a:p>
          <a:p>
            <a:r>
              <a:rPr lang="fi-FI" sz="2000" dirty="0"/>
              <a:t>Saavutetaanko tavoitteet esitetyillä toimilla</a:t>
            </a:r>
            <a:r>
              <a:rPr lang="fi-FI" sz="2000" dirty="0" smtClean="0"/>
              <a:t>?</a:t>
            </a:r>
          </a:p>
          <a:p>
            <a:r>
              <a:rPr lang="fi-FI" sz="2000" dirty="0" smtClean="0"/>
              <a:t>Ilmastonäkökulma ja –toimet / kestävä kehitys liian kapeita</a:t>
            </a:r>
          </a:p>
          <a:p>
            <a:r>
              <a:rPr lang="fi-FI" sz="2000" dirty="0" smtClean="0"/>
              <a:t>Ihmislähtöisyyden vahvistaminen</a:t>
            </a:r>
          </a:p>
          <a:p>
            <a:r>
              <a:rPr lang="fi-FI" sz="2000" dirty="0" smtClean="0"/>
              <a:t>EU/KV-näkökulmaa lisää</a:t>
            </a:r>
          </a:p>
          <a:p>
            <a:r>
              <a:rPr lang="fi-FI" sz="2000" dirty="0" smtClean="0"/>
              <a:t>Teknologiakehityksen riskit, mm. alustatalous</a:t>
            </a:r>
          </a:p>
          <a:p>
            <a:r>
              <a:rPr lang="fi-FI" sz="2000" dirty="0" smtClean="0"/>
              <a:t>Osaaminen vielä laajemmin mukaan</a:t>
            </a:r>
          </a:p>
          <a:p>
            <a:r>
              <a:rPr lang="fi-FI" sz="2000" dirty="0" smtClean="0"/>
              <a:t>Toimissa (etenkin digi/data-kokonaisuus) on päällekkäisyyttä, toimien kirkastaminen</a:t>
            </a:r>
          </a:p>
          <a:p>
            <a:r>
              <a:rPr lang="fi-FI" sz="2000" dirty="0" smtClean="0"/>
              <a:t>Julkiselle sektorille tulevan arvon kirkastaminen esim. hankinnoissa ja kokeiluissa</a:t>
            </a:r>
          </a:p>
          <a:p>
            <a:r>
              <a:rPr lang="fi-FI" sz="2000" dirty="0" smtClean="0"/>
              <a:t>Lukuisia tarkempia ehdotuksia </a:t>
            </a:r>
          </a:p>
          <a:p>
            <a:pPr marL="0" indent="0">
              <a:buNone/>
            </a:pPr>
            <a:endParaRPr lang="fi-FI" sz="2000" dirty="0" smtClean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27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numeron paikkamerkki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6</a:t>
            </a:fld>
            <a:endParaRPr lang="fi-FI" dirty="0"/>
          </a:p>
        </p:txBody>
      </p:sp>
      <p:pic>
        <p:nvPicPr>
          <p:cNvPr id="3" name="Kuva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894" y="84425"/>
            <a:ext cx="6856730" cy="6597511"/>
          </a:xfrm>
          <a:prstGeom prst="rect">
            <a:avLst/>
          </a:prstGeom>
        </p:spPr>
      </p:pic>
      <p:sp>
        <p:nvSpPr>
          <p:cNvPr id="5" name="Tekstiruutu 4"/>
          <p:cNvSpPr txBox="1"/>
          <p:nvPr/>
        </p:nvSpPr>
        <p:spPr>
          <a:xfrm>
            <a:off x="7490011" y="1804286"/>
            <a:ext cx="4276165" cy="31577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fi-FI" sz="3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Kokonaisarviossa selvä tuki ehdotetuille toimenpiteille sekä vaikuttavuuden että toteutuksen tarpeellisuuden osalta</a:t>
            </a:r>
            <a:endParaRPr lang="fi-FI" sz="3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522126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CB783-365B-40E8-A1C9-91A9348041A5}" type="slidenum">
              <a:rPr lang="fi-FI" smtClean="0"/>
              <a:pPr/>
              <a:t>7</a:t>
            </a:fld>
            <a:endParaRPr lang="fi-FI" dirty="0"/>
          </a:p>
        </p:txBody>
      </p:sp>
      <p:pic>
        <p:nvPicPr>
          <p:cNvPr id="6" name="Kuva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6753" y="892251"/>
            <a:ext cx="7987553" cy="5789685"/>
          </a:xfrm>
          <a:prstGeom prst="rect">
            <a:avLst/>
          </a:prstGeom>
        </p:spPr>
      </p:pic>
      <p:sp>
        <p:nvSpPr>
          <p:cNvPr id="8" name="Tekstiruutu 7"/>
          <p:cNvSpPr txBox="1"/>
          <p:nvPr/>
        </p:nvSpPr>
        <p:spPr>
          <a:xfrm>
            <a:off x="551329" y="201707"/>
            <a:ext cx="1186927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36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arkempi </a:t>
            </a:r>
            <a:r>
              <a:rPr lang="fi-FI" sz="36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näkymä kohdennettuna hajonta-alueelle   </a:t>
            </a:r>
            <a:endParaRPr lang="fi-FI" sz="36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70345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Suuria eroja eri </a:t>
            </a:r>
            <a:r>
              <a:rPr lang="fi-FI" dirty="0" smtClean="0"/>
              <a:t>ryhmillä tai vastustusta</a:t>
            </a:r>
            <a:endParaRPr lang="fi-FI" dirty="0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smtClean="0"/>
              <a:t>Teknologiaministeri – osa epäili vaikuttavuutta ja kannatti isompia rakenteellisia muutoksia</a:t>
            </a:r>
            <a:endParaRPr lang="fi-FI" dirty="0" smtClean="0"/>
          </a:p>
          <a:p>
            <a:r>
              <a:rPr lang="fi-FI" dirty="0" smtClean="0"/>
              <a:t>Omistajuus ja yrittäjyys </a:t>
            </a:r>
            <a:r>
              <a:rPr lang="fi-FI" dirty="0" smtClean="0"/>
              <a:t>– </a:t>
            </a:r>
            <a:r>
              <a:rPr lang="fi-FI" dirty="0" smtClean="0"/>
              <a:t>julkishallinnon ja yritysten näkemyksissä selvät erot </a:t>
            </a:r>
          </a:p>
          <a:p>
            <a:r>
              <a:rPr lang="fi-FI" dirty="0" smtClean="0"/>
              <a:t>Älyrahake</a:t>
            </a:r>
            <a:r>
              <a:rPr lang="fi-FI" dirty="0" smtClean="0"/>
              <a:t>: </a:t>
            </a:r>
            <a:r>
              <a:rPr lang="fi-FI" dirty="0" smtClean="0"/>
              <a:t>jakaantuu </a:t>
            </a:r>
            <a:r>
              <a:rPr lang="fi-FI" dirty="0" smtClean="0"/>
              <a:t>kaikkien ryhmien välillä</a:t>
            </a:r>
            <a:endParaRPr lang="fi-FI" dirty="0"/>
          </a:p>
          <a:p>
            <a:r>
              <a:rPr lang="fi-FI" dirty="0" smtClean="0"/>
              <a:t>Vastustusta: </a:t>
            </a:r>
            <a:r>
              <a:rPr lang="fi-FI" dirty="0" smtClean="0"/>
              <a:t>Korkeakoulujen erikoistuminen 23c</a:t>
            </a:r>
            <a:r>
              <a:rPr lang="fi-FI" dirty="0" smtClean="0"/>
              <a:t>, </a:t>
            </a:r>
            <a:r>
              <a:rPr lang="fi-FI" dirty="0" smtClean="0"/>
              <a:t>ulkomaisista huippuyliopistoista valmistuneiden oleskelulupa 25 d</a:t>
            </a:r>
          </a:p>
          <a:p>
            <a:pPr marL="0" indent="0">
              <a:buNone/>
            </a:pPr>
            <a:endParaRPr lang="fi-FI" dirty="0" smtClean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CCB783-365B-40E8-A1C9-91A9348041A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365AB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srgbClr val="365AB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783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2026919" y="3073399"/>
            <a:ext cx="9308951" cy="2439895"/>
          </a:xfrm>
        </p:spPr>
        <p:txBody>
          <a:bodyPr/>
          <a:lstStyle/>
          <a:p>
            <a:r>
              <a:rPr lang="fi-FI" dirty="0" smtClean="0"/>
              <a:t>Tavoitteet ja avaintulokset</a:t>
            </a:r>
            <a:br>
              <a:rPr lang="fi-FI" dirty="0" smtClean="0"/>
            </a:br>
            <a:r>
              <a:rPr lang="fi-FI" dirty="0" smtClean="0"/>
              <a:t>- avaintuloksissa </a:t>
            </a:r>
            <a:r>
              <a:rPr lang="fi-FI" dirty="0"/>
              <a:t>vielä työstöä, jonkin verran muutosehdotuksia </a:t>
            </a:r>
            <a:r>
              <a:rPr lang="fi-FI" dirty="0" smtClean="0"/>
              <a:t>lausunnoissa </a:t>
            </a:r>
            <a:r>
              <a:rPr lang="fi-FI" b="0" dirty="0" smtClean="0"/>
              <a:t>(kommentteja ja ehdotuksia muistiinpanoissa)</a:t>
            </a:r>
            <a:endParaRPr lang="fi-FI" b="0" dirty="0"/>
          </a:p>
        </p:txBody>
      </p:sp>
    </p:spTree>
    <p:extLst>
      <p:ext uri="{BB962C8B-B14F-4D97-AF65-F5344CB8AC3E}">
        <p14:creationId xmlns:p14="http://schemas.microsoft.com/office/powerpoint/2010/main" val="2967841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TwNyTkREQqyM8CRQKO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KA6uW69iCoOEjX5Cdzl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972v46n3MC1Y8QUhf.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kOjoPV79Es2DJk4QIf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H7mJ7lgz9SwBCDDdid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P_8Yy.xMECL.zfSPP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2.xml><?xml version="1.0" encoding="utf-8"?>
<a:theme xmlns:a="http://schemas.openxmlformats.org/drawingml/2006/main" name="1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3.xml><?xml version="1.0" encoding="utf-8"?>
<a:theme xmlns:a="http://schemas.openxmlformats.org/drawingml/2006/main" name="2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4.xml><?xml version="1.0" encoding="utf-8"?>
<a:theme xmlns:a="http://schemas.openxmlformats.org/drawingml/2006/main" name="4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5.xml><?xml version="1.0" encoding="utf-8"?>
<a:theme xmlns:a="http://schemas.openxmlformats.org/drawingml/2006/main" name="3_VM2019 teema">
  <a:themeElements>
    <a:clrScheme name="VM2019">
      <a:dk1>
        <a:sysClr val="windowText" lastClr="000000"/>
      </a:dk1>
      <a:lt1>
        <a:sysClr val="window" lastClr="FFFFFF"/>
      </a:lt1>
      <a:dk2>
        <a:srgbClr val="365ABD"/>
      </a:dk2>
      <a:lt2>
        <a:srgbClr val="E7E6E6"/>
      </a:lt2>
      <a:accent1>
        <a:srgbClr val="365ABD"/>
      </a:accent1>
      <a:accent2>
        <a:srgbClr val="1B365D"/>
      </a:accent2>
      <a:accent3>
        <a:srgbClr val="A34E96"/>
      </a:accent3>
      <a:accent4>
        <a:srgbClr val="479A36"/>
      </a:accent4>
      <a:accent5>
        <a:srgbClr val="728CD1"/>
      </a:accent5>
      <a:accent6>
        <a:srgbClr val="6D6E71"/>
      </a:accent6>
      <a:hlink>
        <a:srgbClr val="0563C1"/>
      </a:hlink>
      <a:folHlink>
        <a:srgbClr val="954F72"/>
      </a:folHlink>
    </a:clrScheme>
    <a:fontScheme name="VM2019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M_esitysmalli_FI_SV_sininen_lila.potx" id="{E8454F93-2E0B-409D-9B2D-8BAC6BFC0E2B}" vid="{94A68CB0-CF75-4B68-B224-F9082EF07815}"/>
    </a:ext>
  </a:extLst>
</a:theme>
</file>

<file path=ppt/theme/theme6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C273FBDB1AAC448BDBB3CA1302F22C6" ma:contentTypeVersion="3" ma:contentTypeDescription="Luo uusi asiakirja." ma:contentTypeScope="" ma:versionID="3cf92efc90fd97c5548b5b3f6d259d45">
  <xsd:schema xmlns:xsd="http://www.w3.org/2001/XMLSchema" xmlns:xs="http://www.w3.org/2001/XMLSchema" xmlns:p="http://schemas.microsoft.com/office/2006/metadata/properties" xmlns:ns2="ebb82943-49da-4504-a2f3-a33fb2eb95f1" targetNamespace="http://schemas.microsoft.com/office/2006/metadata/properties" ma:root="true" ma:fieldsID="73a7f945de27690f0e5612b79736f6f4" ns2:_="">
    <xsd:import namespace="ebb82943-49da-4504-a2f3-a33fb2eb95f1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82943-49da-4504-a2f3-a33fb2eb95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40BD71D-3354-428F-B3E7-822F20DDB05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D4C6AE7-4EA2-4E9B-99B4-AFEA94CEFF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bb82943-49da-4504-a2f3-a33fb2eb9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F0E12F-365E-4824-AA72-3B4A144E2ED2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ebb82943-49da-4504-a2f3-a33fb2eb95f1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612</TotalTime>
  <Words>2316</Words>
  <Application>Microsoft Office PowerPoint</Application>
  <PresentationFormat>Laajakuva</PresentationFormat>
  <Paragraphs>321</Paragraphs>
  <Slides>21</Slides>
  <Notes>6</Notes>
  <HiddenSlides>0</HiddenSlides>
  <MMClips>0</MMClips>
  <ScaleCrop>false</ScaleCrop>
  <HeadingPairs>
    <vt:vector size="8" baseType="variant">
      <vt:variant>
        <vt:lpstr>Käytetyt fontit</vt:lpstr>
      </vt:variant>
      <vt:variant>
        <vt:i4>5</vt:i4>
      </vt:variant>
      <vt:variant>
        <vt:lpstr>Teema</vt:lpstr>
      </vt:variant>
      <vt:variant>
        <vt:i4>5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21</vt:i4>
      </vt:variant>
    </vt:vector>
  </HeadingPairs>
  <TitlesOfParts>
    <vt:vector size="32" baseType="lpstr">
      <vt:lpstr>Arial</vt:lpstr>
      <vt:lpstr>Arial Narrow</vt:lpstr>
      <vt:lpstr>Calibri</vt:lpstr>
      <vt:lpstr>Times New Roman</vt:lpstr>
      <vt:lpstr>Trebuchet MS</vt:lpstr>
      <vt:lpstr>VM2019 teema</vt:lpstr>
      <vt:lpstr>1_VM2019 teema</vt:lpstr>
      <vt:lpstr>2_VM2019 teema</vt:lpstr>
      <vt:lpstr>4_VM2019 teema</vt:lpstr>
      <vt:lpstr>3_VM2019 teema</vt:lpstr>
      <vt:lpstr>think-cell Slide</vt:lpstr>
      <vt:lpstr>TNVK 17.5.2021</vt:lpstr>
      <vt:lpstr>Asialista</vt:lpstr>
      <vt:lpstr>TNVK – raporttiluonnokseen saatuja huomioita</vt:lpstr>
      <vt:lpstr>Yleisiä kommentteja</vt:lpstr>
      <vt:lpstr>Kriittisiä / kehityshuomioita yleisesti</vt:lpstr>
      <vt:lpstr>PowerPoint-esitys</vt:lpstr>
      <vt:lpstr>PowerPoint-esitys</vt:lpstr>
      <vt:lpstr>Suuria eroja eri ryhmillä tai vastustusta</vt:lpstr>
      <vt:lpstr>Tavoitteet ja avaintulokset - avaintuloksissa vielä työstöä, jonkin verran muutosehdotuksia lausunnoissa (kommentteja ja ehdotuksia muistiinpanoissa)</vt:lpstr>
      <vt:lpstr>Teknologiapolitiikan OKR –malli Suomelle</vt:lpstr>
      <vt:lpstr>Avaintulokset ja tavoitetasot</vt:lpstr>
      <vt:lpstr>Tavoite 2: Avaintulokset ja tavoitetasot</vt:lpstr>
      <vt:lpstr>Tavoite 3: Avaintulokset ja tavoitetasot</vt:lpstr>
      <vt:lpstr>Tavoite 4: Avaintulokset ja tavoitetasot</vt:lpstr>
      <vt:lpstr>Nostot toimenpidekokonaisuuksista – kommentit ja muutosehdotukset</vt:lpstr>
      <vt:lpstr>Tavoitteen 1 toimenpiteistö</vt:lpstr>
      <vt:lpstr>Tavoitteen 2 toimenpiteistö</vt:lpstr>
      <vt:lpstr>Tavoitteen 3 toimenpiteistö</vt:lpstr>
      <vt:lpstr>Tavoitteen 4 toimenpiteistö</vt:lpstr>
      <vt:lpstr>Työstöä viimeisen viikon aikana</vt:lpstr>
      <vt:lpstr>Johtopäätökset tilannekuvasta (alustava, tarkemmin raportti luku 4.5) </vt:lpstr>
    </vt:vector>
  </TitlesOfParts>
  <Company>Suomen val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ran paketti</dc:title>
  <dc:creator>Laura Eiro</dc:creator>
  <cp:lastModifiedBy>Eiro Laura (VM)</cp:lastModifiedBy>
  <cp:revision>1135</cp:revision>
  <dcterms:created xsi:type="dcterms:W3CDTF">2021-02-23T07:26:39Z</dcterms:created>
  <dcterms:modified xsi:type="dcterms:W3CDTF">2021-05-14T05:38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273FBDB1AAC448BDBB3CA1302F22C6</vt:lpwstr>
  </property>
</Properties>
</file>